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slides/slide13.xml" ContentType="application/vnd.openxmlformats-officedocument.presentationml.slide+xml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12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customXml/itemProps1.xml" ContentType="application/vnd.openxmlformats-officedocument.customXmlPropertie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compatMode="1" strictFirstAndLastChars="0" saveSubsetFonts="1">
  <p:sldMasterIdLst>
    <p:sldMasterId id="2147483648" r:id="rId2"/>
    <p:sldMasterId id="2147484195" r:id="rId3"/>
  </p:sldMasterIdLst>
  <p:notesMasterIdLst>
    <p:notesMasterId r:id="rId17"/>
  </p:notesMasterIdLst>
  <p:handoutMasterIdLst>
    <p:handoutMasterId r:id="rId18"/>
  </p:handoutMasterIdLst>
  <p:sldIdLst>
    <p:sldId id="280" r:id="rId4"/>
    <p:sldId id="290" r:id="rId5"/>
    <p:sldId id="291" r:id="rId6"/>
    <p:sldId id="293" r:id="rId7"/>
    <p:sldId id="295" r:id="rId8"/>
    <p:sldId id="299" r:id="rId9"/>
    <p:sldId id="298" r:id="rId10"/>
    <p:sldId id="286" r:id="rId11"/>
    <p:sldId id="288" r:id="rId12"/>
    <p:sldId id="301" r:id="rId13"/>
    <p:sldId id="302" r:id="rId14"/>
    <p:sldId id="303" r:id="rId15"/>
    <p:sldId id="281" r:id="rId16"/>
  </p:sldIdLst>
  <p:sldSz cx="12188825" cy="6858000"/>
  <p:notesSz cx="7772400" cy="10058400"/>
  <p:defaultTextStyle>
    <a:defPPr>
      <a:defRPr lang="en-GB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1pPr>
    <a:lvl2pPr marL="742950" indent="-28575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2pPr>
    <a:lvl3pPr marL="1143000" indent="-228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3pPr>
    <a:lvl4pPr marL="1600200" indent="-228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4pPr>
    <a:lvl5pPr marL="2057400" indent="-228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C85A"/>
    <a:srgbClr val="5DFFA6"/>
    <a:srgbClr val="ABFFD1"/>
    <a:srgbClr val="FF8F8F"/>
    <a:srgbClr val="FFCDCD"/>
    <a:srgbClr val="9D9DE7"/>
    <a:srgbClr val="CDCDF3"/>
    <a:srgbClr val="FFD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88" autoAdjust="0"/>
    <p:restoredTop sz="93428" autoAdjust="0"/>
  </p:normalViewPr>
  <p:slideViewPr>
    <p:cSldViewPr>
      <p:cViewPr varScale="1">
        <p:scale>
          <a:sx n="85" d="100"/>
          <a:sy n="85" d="100"/>
        </p:scale>
        <p:origin x="808" y="17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21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20" Type="http://schemas.openxmlformats.org/officeDocument/2006/relationships/viewProps" Target="viewProps.xml"/><Relationship Id="rId16" Type="http://schemas.openxmlformats.org/officeDocument/2006/relationships/slide" Target="slides/slide13.xml"/><Relationship Id="rId2" Type="http://schemas.openxmlformats.org/officeDocument/2006/relationships/slideMaster" Target="slideMasters/slideMaster1.xml"/><Relationship Id="rId11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24" Type="http://schemas.openxmlformats.org/officeDocument/2006/relationships/customXml" Target="../customXml/item3.xml"/><Relationship Id="rId15" Type="http://schemas.openxmlformats.org/officeDocument/2006/relationships/slide" Target="slides/slide12.xml"/><Relationship Id="rId5" Type="http://schemas.openxmlformats.org/officeDocument/2006/relationships/slide" Target="slides/slide2.xml"/><Relationship Id="rId23" Type="http://schemas.openxmlformats.org/officeDocument/2006/relationships/customXml" Target="../customXml/item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9" Type="http://schemas.openxmlformats.org/officeDocument/2006/relationships/slide" Target="slides/slide6.xml"/><Relationship Id="rId22" Type="http://schemas.openxmlformats.org/officeDocument/2006/relationships/tableStyles" Target="tableStyles.xml"/><Relationship Id="rId14" Type="http://schemas.openxmlformats.org/officeDocument/2006/relationships/slide" Target="slides/slide11.xml"/><Relationship Id="rId4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402138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fld id="{7D6EBE7C-7BED-594B-BC8F-137899B76AD4}" type="datetimeFigureOut">
              <a:rPr lang="en-US"/>
              <a:pPr>
                <a:defRPr/>
              </a:pPr>
              <a:t>9/21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402138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fld id="{55599201-7A6C-B74A-88C2-326CAEA98D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77875" y="4776788"/>
            <a:ext cx="6216650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Lucida Sans Unicode" panose="020B0602030504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398963" y="0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Lucida Sans Unicode" panose="020B0602030504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Lucida Sans Unicode" panose="020B0602030504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398963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</a:defRPr>
            </a:lvl1pPr>
          </a:lstStyle>
          <a:p>
            <a:pPr>
              <a:defRPr/>
            </a:pPr>
            <a:fld id="{CB7ABD26-3AB2-DE4D-B880-1CB4915169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MS PGothic" panose="020B0600070205080204" pitchFamily="34" charset="-128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9219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9220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A83DA30E-DE16-EC47-8533-813FA224B358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7651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7652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19ABCE0D-FA21-0F4C-B831-33B68EC45D3A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0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9699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9700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56A56B64-F68D-DC46-95E8-C318E7A8382E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1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1747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31748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879FCF6B-3080-544B-8730-CAA401E2571B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2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379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33796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A68A2C33-74B0-C34D-9FCF-AA92970FF49B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3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7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1268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D0057499-E55A-484E-83AD-2D03FB9F693F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2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331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3316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1B7DB4C7-4723-0043-89D7-694B9A723F9C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3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5363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5364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01B00BFC-AC08-824D-B034-FC711EE33FA5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4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7411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7412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7C9F4BF8-D08B-4544-98FD-5E77029DE290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5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9459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9460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FBFF0CBF-00C2-F747-994F-ECD71B2A0DC0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6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1507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1508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9A0629A9-96F1-754D-A78A-86433B63C9C8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7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355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3556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077A4256-2088-284C-AFF5-F18B1D612C50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8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5603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5604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87E12E39-6EAF-1D41-B216-F22A0C1355FE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9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g  </a:t>
            </a:r>
            <a:fld id="{118409EC-5D03-554C-91E7-E5A6CB269D0E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88245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8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6200" cy="595709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6200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0613" y="1681163"/>
            <a:ext cx="5181600" cy="595709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3" y="2505075"/>
            <a:ext cx="518160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sldNum" idx="12"/>
          </p:nvPr>
        </p:nvSpPr>
        <p:spPr>
          <a:xfrm>
            <a:off x="365125" y="6308725"/>
            <a:ext cx="2527300" cy="354013"/>
          </a:xfrm>
        </p:spPr>
        <p:txBody>
          <a:bodyPr/>
          <a:lstStyle>
            <a:lvl1pPr>
              <a:defRPr sz="1400" b="0" i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r>
              <a:rPr lang="en-US" altLang="en-US"/>
              <a:t>Pg  </a:t>
            </a:r>
            <a:fld id="{51991DB0-8472-604B-8C1F-E3D988641A7D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515532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2133972" y="1988840"/>
            <a:ext cx="8105949" cy="3175794"/>
          </a:xfrm>
        </p:spPr>
        <p:txBody>
          <a:bodyPr/>
          <a:lstStyle/>
          <a:p>
            <a:pPr lvl="1"/>
            <a:endParaRPr lang="en-IN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 noChangeArrowheads="1"/>
          </p:cNvSpPr>
          <p:nvPr>
            <p:ph type="sldNum" idx="12"/>
          </p:nvPr>
        </p:nvSpPr>
        <p:spPr>
          <a:xfrm>
            <a:off x="365125" y="6308725"/>
            <a:ext cx="2527300" cy="354013"/>
          </a:xfrm>
        </p:spPr>
        <p:txBody>
          <a:bodyPr/>
          <a:lstStyle>
            <a:lvl1pPr>
              <a:defRPr sz="1400" b="0" i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r>
              <a:rPr lang="en-US" altLang="en-US"/>
              <a:t>Pg  </a:t>
            </a:r>
            <a:fld id="{22EF2569-F54F-3148-9F5B-E679331AB573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245358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r>
              <a:rPr lang="en-US" altLang="en-US"/>
              <a:t>Pg.  </a:t>
            </a:r>
            <a:fld id="{82BF1900-9AEB-7E43-A38A-94A5B585F622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70093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2494012" y="2852935"/>
            <a:ext cx="8105949" cy="2967633"/>
          </a:xfrm>
        </p:spPr>
        <p:txBody>
          <a:bodyPr/>
          <a:lstStyle/>
          <a:p>
            <a:pPr lvl="1"/>
            <a:endParaRPr lang="en-IN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2453988" y="1412776"/>
            <a:ext cx="5156200" cy="1296144"/>
          </a:xfrm>
        </p:spPr>
        <p:txBody>
          <a:bodyPr/>
          <a:lstStyle>
            <a:lvl2pPr marL="742950" marR="0" indent="-285750" algn="l" defTabSz="457200" rtl="0" eaLnBrk="0" fontAlgn="base" latinLnBrk="0" hangingPunct="0">
              <a:lnSpc>
                <a:spcPct val="94000"/>
              </a:lnSpc>
              <a:spcBef>
                <a:spcPct val="0"/>
              </a:spcBef>
              <a:spcAft>
                <a:spcPts val="1138"/>
              </a:spcAft>
              <a:buClr>
                <a:srgbClr val="000000"/>
              </a:buClr>
              <a:buSzPct val="100000"/>
              <a:buFont typeface="Arial" charset="0"/>
              <a:buChar char="•"/>
              <a:tabLst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idx="13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r>
              <a:rPr lang="en-US" altLang="en-US"/>
              <a:t>Pg  </a:t>
            </a:r>
            <a:fld id="{12DEFEC6-0785-B249-A1A1-BD6E5340837F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641745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5513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theme" Target="../theme/theme2.xml"/><Relationship Id="rId3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ChangeArrowheads="1"/>
          </p:cNvSpPr>
          <p:nvPr/>
        </p:nvSpPr>
        <p:spPr bwMode="auto">
          <a:xfrm>
            <a:off x="4037013" y="6356350"/>
            <a:ext cx="4113212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n-US" altLang="en-US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sldNum"/>
          </p:nvPr>
        </p:nvSpPr>
        <p:spPr bwMode="auto">
          <a:xfrm>
            <a:off x="365125" y="6315075"/>
            <a:ext cx="2527300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400" b="0" i="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r>
              <a:rPr lang="en-US" altLang="en-US"/>
              <a:t>Pg  </a:t>
            </a:r>
            <a:fld id="{8419725D-2891-E142-BF46-AC9E13D33801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3050"/>
            <a:ext cx="10966450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the title text format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17638"/>
            <a:ext cx="10966450" cy="452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2124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the outline text format</a:t>
            </a:r>
          </a:p>
          <a:p>
            <a:pPr lvl="1"/>
            <a:r>
              <a:rPr lang="en-GB" altLang="en-US"/>
              <a:t>Second Outline Level</a:t>
            </a:r>
          </a:p>
          <a:p>
            <a:pPr lvl="2"/>
            <a:r>
              <a:rPr lang="en-GB" altLang="en-US"/>
              <a:t>Third Outline Level</a:t>
            </a:r>
          </a:p>
          <a:p>
            <a:pPr lvl="3"/>
            <a:r>
              <a:rPr lang="en-GB" altLang="en-US"/>
              <a:t>Fourth Outline Level</a:t>
            </a:r>
          </a:p>
          <a:p>
            <a:pPr lvl="4"/>
            <a:r>
              <a:rPr lang="en-GB" altLang="en-US"/>
              <a:t>Fifth Outline Level</a:t>
            </a:r>
          </a:p>
          <a:p>
            <a:pPr lvl="4"/>
            <a:r>
              <a:rPr lang="en-GB" altLang="en-US"/>
              <a:t>Sixth Outline Level</a:t>
            </a:r>
          </a:p>
          <a:p>
            <a:pPr lvl="4"/>
            <a:r>
              <a:rPr lang="en-GB" altLang="en-US"/>
              <a:t>Seventh Outline Level</a:t>
            </a:r>
          </a:p>
          <a:p>
            <a:pPr lvl="4"/>
            <a:r>
              <a:rPr lang="en-GB" altLang="en-US"/>
              <a:t>Eighth Outline Level</a:t>
            </a:r>
          </a:p>
          <a:p>
            <a:pPr lvl="4"/>
            <a:r>
              <a:rPr lang="en-GB" altLang="en-US"/>
              <a:t>Ninth Outline Level</a:t>
            </a:r>
          </a:p>
        </p:txBody>
      </p:sp>
      <p:cxnSp>
        <p:nvCxnSpPr>
          <p:cNvPr id="1030" name="Straight Connector 9"/>
          <p:cNvCxnSpPr>
            <a:cxnSpLocks noChangeShapeType="1"/>
          </p:cNvCxnSpPr>
          <p:nvPr userDrawn="1"/>
        </p:nvCxnSpPr>
        <p:spPr bwMode="auto">
          <a:xfrm>
            <a:off x="365125" y="6092825"/>
            <a:ext cx="11580813" cy="0"/>
          </a:xfrm>
          <a:prstGeom prst="line">
            <a:avLst/>
          </a:prstGeom>
          <a:noFill/>
          <a:ln w="9525">
            <a:solidFill>
              <a:srgbClr val="006DA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1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8" r:id="rId1"/>
    <p:sldLayoutId id="2147484420" r:id="rId2"/>
    <p:sldLayoutId id="2147484421" r:id="rId3"/>
    <p:sldLayoutId id="2147484422" r:id="rId4"/>
    <p:sldLayoutId id="214748442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kern="1200">
          <a:solidFill>
            <a:srgbClr val="FFFFFF"/>
          </a:solidFill>
          <a:latin typeface="+mj-lt"/>
          <a:ea typeface="Microsoft YaHei" charset="-122"/>
          <a:cs typeface="Microsoft YaHei" charset="0"/>
        </a:defRPr>
      </a:lvl1pPr>
      <a:lvl2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2pPr>
      <a:lvl3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3pPr>
      <a:lvl4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4pPr>
      <a:lvl5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5pPr>
      <a:lvl6pPr marL="25146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6pPr>
      <a:lvl7pPr marL="29718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7pPr>
      <a:lvl8pPr marL="34290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8pPr>
      <a:lvl9pPr marL="38862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9pPr>
    </p:titleStyle>
    <p:bodyStyle>
      <a:lvl1pPr marL="342900" indent="-342900" algn="l" defTabSz="457200" rtl="0" eaLnBrk="0" fontAlgn="base" hangingPunct="0">
        <a:lnSpc>
          <a:spcPct val="94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2800"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1pPr>
      <a:lvl2pPr marL="742950" indent="-285750" algn="l" defTabSz="457200" rtl="0" eaLnBrk="0" fontAlgn="base" hangingPunct="0">
        <a:lnSpc>
          <a:spcPct val="94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2pPr>
      <a:lvl3pPr marL="1143000" indent="-228600" algn="l" defTabSz="457200" rtl="0" eaLnBrk="0" fontAlgn="base" hangingPunct="0">
        <a:lnSpc>
          <a:spcPct val="94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3pPr>
      <a:lvl4pPr marL="1600200" indent="-228600" algn="l" defTabSz="457200" rtl="0" eaLnBrk="0" fontAlgn="base" hangingPunct="0">
        <a:lnSpc>
          <a:spcPct val="94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4pPr>
      <a:lvl5pPr marL="2057400" indent="-228600" algn="l" defTabSz="457200" rtl="0" eaLnBrk="0" fontAlgn="base" hangingPunct="0">
        <a:lnSpc>
          <a:spcPct val="94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</p:sldLayoutIdLst>
  <p:hf hdr="0" ftr="0" dt="0"/>
  <p:txStyles>
    <p:titleStyle>
      <a:lvl1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 kern="1200">
          <a:solidFill>
            <a:srgbClr val="000000"/>
          </a:solidFill>
          <a:latin typeface="+mj-lt"/>
          <a:ea typeface="+mj-ea"/>
          <a:cs typeface="Microsoft YaHei" charset="0"/>
        </a:defRPr>
      </a:lvl1pPr>
      <a:lvl2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2pPr>
      <a:lvl3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3pPr>
      <a:lvl4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4pPr>
      <a:lvl5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5pPr>
      <a:lvl6pPr marL="25146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6pPr>
      <a:lvl7pPr marL="29718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7pPr>
      <a:lvl8pPr marL="34290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8pPr>
      <a:lvl9pPr marL="38862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9pPr>
    </p:titleStyle>
    <p:bodyStyle>
      <a:lvl1pPr marL="342900" indent="-342900" algn="l" defTabSz="457200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3200" kern="1200">
          <a:solidFill>
            <a:srgbClr val="000000"/>
          </a:solidFill>
          <a:latin typeface="+mn-lt"/>
          <a:ea typeface="+mn-ea"/>
          <a:cs typeface="Microsoft YaHei" charset="0"/>
        </a:defRPr>
      </a:lvl1pPr>
      <a:lvl2pPr marL="742950" indent="-285750" algn="l" defTabSz="457200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sz="2800" kern="1200">
          <a:solidFill>
            <a:srgbClr val="000000"/>
          </a:solidFill>
          <a:latin typeface="+mn-lt"/>
          <a:ea typeface="+mn-ea"/>
          <a:cs typeface="Microsoft YaHei" charset="0"/>
        </a:defRPr>
      </a:lvl2pPr>
      <a:lvl3pPr marL="11430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sz="2400" kern="1200">
          <a:solidFill>
            <a:srgbClr val="000000"/>
          </a:solidFill>
          <a:latin typeface="+mn-lt"/>
          <a:ea typeface="+mn-ea"/>
          <a:cs typeface="Microsoft YaHei" charset="0"/>
        </a:defRPr>
      </a:lvl3pPr>
      <a:lvl4pPr marL="16002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+mn-lt"/>
          <a:ea typeface="+mn-ea"/>
          <a:cs typeface="Microsoft YaHei" charset="0"/>
        </a:defRPr>
      </a:lvl4pPr>
      <a:lvl5pPr marL="20574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+mn-lt"/>
          <a:ea typeface="+mn-ea"/>
          <a:cs typeface="Microsoft YaHe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somitra@iiitd.ac.in" TargetMode="External"/><Relationship Id="rId4" Type="http://schemas.openxmlformats.org/officeDocument/2006/relationships/hyperlink" Target="http://crypto.iiitd.edu.in/" TargetMode="Externa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8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194" name="Straight Connector 4"/>
          <p:cNvCxnSpPr>
            <a:cxnSpLocks noChangeShapeType="1"/>
          </p:cNvCxnSpPr>
          <p:nvPr/>
        </p:nvCxnSpPr>
        <p:spPr bwMode="auto">
          <a:xfrm>
            <a:off x="549275" y="5876925"/>
            <a:ext cx="11099800" cy="0"/>
          </a:xfrm>
          <a:prstGeom prst="line">
            <a:avLst/>
          </a:prstGeom>
          <a:noFill/>
          <a:ln w="1270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8677275" y="6137275"/>
            <a:ext cx="143986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charset="0"/>
                <a:ea typeface="Verdana" charset="0"/>
                <a:cs typeface="Verdana" charset="0"/>
              </a:rPr>
              <a:t>HOSTED BY</a:t>
            </a:r>
          </a:p>
        </p:txBody>
      </p:sp>
      <p:pic>
        <p:nvPicPr>
          <p:cNvPr id="8196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021388"/>
            <a:ext cx="160337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TextBox 7"/>
          <p:cNvSpPr txBox="1">
            <a:spLocks noChangeArrowheads="1"/>
          </p:cNvSpPr>
          <p:nvPr/>
        </p:nvSpPr>
        <p:spPr bwMode="auto">
          <a:xfrm>
            <a:off x="4557713" y="6137275"/>
            <a:ext cx="35290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5206"/>
              </p:ext>
            </p:extLst>
          </p:nvPr>
        </p:nvGraphicFramePr>
        <p:xfrm>
          <a:off x="549275" y="404813"/>
          <a:ext cx="7386638" cy="1511300"/>
        </p:xfrm>
        <a:graphic>
          <a:graphicData uri="http://schemas.openxmlformats.org/drawingml/2006/table">
            <a:tbl>
              <a:tblPr firstRow="1" bandRow="1"/>
              <a:tblGrid>
                <a:gridCol w="1630691">
                  <a:extLst>
                    <a:ext uri="{9D8B030D-6E8A-4147-A177-3AD203B41FA5}"/>
                  </a:extLst>
                </a:gridCol>
                <a:gridCol w="5755947">
                  <a:extLst>
                    <a:ext uri="{9D8B030D-6E8A-4147-A177-3AD203B41FA5}"/>
                  </a:extLst>
                </a:gridCol>
              </a:tblGrid>
              <a:tr h="387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/>
                        <a:t>Document No:</a:t>
                      </a:r>
                      <a:endParaRPr lang="en-US" sz="1800" dirty="0"/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smtClean="0"/>
                        <a:t>GSC-21_012 (</a:t>
                      </a:r>
                      <a:r>
                        <a:rPr lang="en-US" sz="1800" dirty="0" smtClean="0"/>
                        <a:t>R1)</a:t>
                      </a:r>
                      <a:endParaRPr lang="en-US" sz="1800" dirty="0"/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/>
                    </a:solidFill>
                  </a:tcPr>
                </a:tc>
                <a:extLst>
                  <a:ext uri="{0D108BD9-81ED-4DB2-BD59-A6C34878D82A}"/>
                </a:extLst>
              </a:tr>
              <a:tr h="3656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ource:</a:t>
                      </a:r>
                      <a:endParaRPr lang="en-US" sz="1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ko-KR" sz="1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TA</a:t>
                      </a:r>
                      <a:endParaRPr 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656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ntact:</a:t>
                      </a:r>
                      <a:endParaRPr lang="en-US" sz="1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ngDuck Chun </a:t>
                      </a:r>
                      <a:endParaRPr 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2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92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genda Item:</a:t>
                      </a:r>
                      <a:endParaRPr lang="en-US" sz="1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.02</a:t>
                      </a:r>
                      <a:endParaRPr 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8215" name="Subtitle 2"/>
          <p:cNvSpPr txBox="1">
            <a:spLocks/>
          </p:cNvSpPr>
          <p:nvPr/>
        </p:nvSpPr>
        <p:spPr bwMode="auto">
          <a:xfrm>
            <a:off x="1557338" y="2708275"/>
            <a:ext cx="9144000" cy="128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 marL="685800" indent="-228600"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 algn="ctr" defTabSz="914400" eaLnBrk="1" hangingPunct="1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r>
              <a:rPr lang="en-US" altLang="en-US" sz="3600" b="1">
                <a:solidFill>
                  <a:srgbClr val="006DA7"/>
                </a:solidFill>
                <a:latin typeface="Verdana" charset="0"/>
              </a:rPr>
              <a:t>Communication technologies for autonomous vehicles</a:t>
            </a:r>
          </a:p>
          <a:p>
            <a:pPr algn="ctr" defTabSz="914400" eaLnBrk="1" hangingPunct="1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endParaRPr lang="en-US" altLang="en-US" sz="3600" b="1">
              <a:solidFill>
                <a:srgbClr val="006DA7"/>
              </a:solidFill>
              <a:latin typeface="Verdana" charset="0"/>
            </a:endParaRPr>
          </a:p>
          <a:p>
            <a:pPr algn="ctr" defTabSz="914400" eaLnBrk="1" hangingPunct="1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r>
              <a:rPr lang="en-US" altLang="en-US" sz="2800" b="1">
                <a:solidFill>
                  <a:srgbClr val="006DA7"/>
                </a:solidFill>
                <a:latin typeface="Verdana" charset="0"/>
              </a:rPr>
              <a:t>SungDuck Chun, LG Electron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F65B4E74-931B-334F-A9AA-8349DF18C7DC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0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6627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Annex A: Evolution of Cellular technologies</a:t>
            </a:r>
          </a:p>
        </p:txBody>
      </p:sp>
      <p:sp>
        <p:nvSpPr>
          <p:cNvPr id="26628" name="직사각형 1"/>
          <p:cNvSpPr>
            <a:spLocks noChangeArrowheads="1"/>
          </p:cNvSpPr>
          <p:nvPr/>
        </p:nvSpPr>
        <p:spPr bwMode="auto">
          <a:xfrm>
            <a:off x="788988" y="3608388"/>
            <a:ext cx="2087562" cy="468312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GSM/GPRS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6629" name="직선 화살표 연결선 33"/>
          <p:cNvCxnSpPr>
            <a:cxnSpLocks noChangeShapeType="1"/>
            <a:stCxn id="26628" idx="3"/>
            <a:endCxn id="26635" idx="1"/>
          </p:cNvCxnSpPr>
          <p:nvPr/>
        </p:nvCxnSpPr>
        <p:spPr bwMode="auto">
          <a:xfrm>
            <a:off x="2876550" y="3843338"/>
            <a:ext cx="1273175" cy="0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30" name="오각형 45"/>
          <p:cNvSpPr>
            <a:spLocks noChangeArrowheads="1"/>
          </p:cNvSpPr>
          <p:nvPr/>
        </p:nvSpPr>
        <p:spPr bwMode="auto">
          <a:xfrm>
            <a:off x="3717925" y="1916113"/>
            <a:ext cx="2808288" cy="504825"/>
          </a:xfrm>
          <a:prstGeom prst="homePlate">
            <a:avLst>
              <a:gd name="adj" fmla="val 49937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1" name="오각형 2"/>
          <p:cNvSpPr>
            <a:spLocks noChangeArrowheads="1"/>
          </p:cNvSpPr>
          <p:nvPr/>
        </p:nvSpPr>
        <p:spPr bwMode="auto">
          <a:xfrm>
            <a:off x="765175" y="1916113"/>
            <a:ext cx="2952750" cy="504825"/>
          </a:xfrm>
          <a:prstGeom prst="homePlate">
            <a:avLst>
              <a:gd name="adj" fmla="val 49934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2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2" name="오각형 2"/>
          <p:cNvSpPr>
            <a:spLocks noChangeArrowheads="1"/>
          </p:cNvSpPr>
          <p:nvPr/>
        </p:nvSpPr>
        <p:spPr bwMode="auto">
          <a:xfrm>
            <a:off x="6526213" y="1916113"/>
            <a:ext cx="4460875" cy="504825"/>
          </a:xfrm>
          <a:prstGeom prst="homePlate">
            <a:avLst>
              <a:gd name="adj" fmla="val 49910"/>
            </a:avLst>
          </a:prstGeom>
          <a:solidFill>
            <a:srgbClr val="FFFB1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4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3" name="직사각형 1"/>
          <p:cNvSpPr>
            <a:spLocks noChangeArrowheads="1"/>
          </p:cNvSpPr>
          <p:nvPr/>
        </p:nvSpPr>
        <p:spPr bwMode="auto">
          <a:xfrm>
            <a:off x="788988" y="4873625"/>
            <a:ext cx="2087562" cy="468313"/>
          </a:xfrm>
          <a:prstGeom prst="rect">
            <a:avLst/>
          </a:prstGeom>
          <a:solidFill>
            <a:srgbClr val="CDCDF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IS-95A/B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4" name="직사각형 1"/>
          <p:cNvSpPr>
            <a:spLocks noChangeArrowheads="1"/>
          </p:cNvSpPr>
          <p:nvPr/>
        </p:nvSpPr>
        <p:spPr bwMode="auto">
          <a:xfrm>
            <a:off x="2781300" y="2838450"/>
            <a:ext cx="1728788" cy="466725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EDGE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5" name="직사각형 1"/>
          <p:cNvSpPr>
            <a:spLocks noChangeArrowheads="1"/>
          </p:cNvSpPr>
          <p:nvPr/>
        </p:nvSpPr>
        <p:spPr bwMode="auto">
          <a:xfrm>
            <a:off x="4149725" y="3608388"/>
            <a:ext cx="2016125" cy="468312"/>
          </a:xfrm>
          <a:prstGeom prst="rect">
            <a:avLst/>
          </a:prstGeom>
          <a:solidFill>
            <a:srgbClr val="FF8F8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WCDMA/HSxPA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6" name="직사각형 1"/>
          <p:cNvSpPr>
            <a:spLocks noChangeArrowheads="1"/>
          </p:cNvSpPr>
          <p:nvPr/>
        </p:nvSpPr>
        <p:spPr bwMode="auto">
          <a:xfrm>
            <a:off x="7462838" y="4165600"/>
            <a:ext cx="792162" cy="468313"/>
          </a:xfrm>
          <a:prstGeom prst="rect">
            <a:avLst/>
          </a:prstGeom>
          <a:solidFill>
            <a:srgbClr val="ABFFD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TE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7" name="직사각형 1"/>
          <p:cNvSpPr>
            <a:spLocks noChangeArrowheads="1"/>
          </p:cNvSpPr>
          <p:nvPr/>
        </p:nvSpPr>
        <p:spPr bwMode="auto">
          <a:xfrm>
            <a:off x="4149725" y="4873625"/>
            <a:ext cx="2016125" cy="468313"/>
          </a:xfrm>
          <a:prstGeom prst="rect">
            <a:avLst/>
          </a:prstGeom>
          <a:solidFill>
            <a:srgbClr val="9D9DE7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DMA2000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1x, EV-DO, Rev A/B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8" name="직사각형 1"/>
          <p:cNvSpPr>
            <a:spLocks noChangeArrowheads="1"/>
          </p:cNvSpPr>
          <p:nvPr/>
        </p:nvSpPr>
        <p:spPr bwMode="auto">
          <a:xfrm>
            <a:off x="8542338" y="4165600"/>
            <a:ext cx="792162" cy="468313"/>
          </a:xfrm>
          <a:prstGeom prst="rect">
            <a:avLst/>
          </a:prstGeom>
          <a:solidFill>
            <a:srgbClr val="5DFFA6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TE-A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9" name="직사각형 1"/>
          <p:cNvSpPr>
            <a:spLocks noChangeArrowheads="1"/>
          </p:cNvSpPr>
          <p:nvPr/>
        </p:nvSpPr>
        <p:spPr bwMode="auto">
          <a:xfrm>
            <a:off x="9623425" y="4165600"/>
            <a:ext cx="792163" cy="468313"/>
          </a:xfrm>
          <a:prstGeom prst="rect">
            <a:avLst/>
          </a:prstGeom>
          <a:solidFill>
            <a:srgbClr val="00C8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TE-Pro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6640" name="직선 화살표 연결선 61"/>
          <p:cNvCxnSpPr>
            <a:cxnSpLocks noChangeShapeType="1"/>
            <a:stCxn id="26636" idx="3"/>
            <a:endCxn id="26638" idx="1"/>
          </p:cNvCxnSpPr>
          <p:nvPr/>
        </p:nvCxnSpPr>
        <p:spPr bwMode="auto">
          <a:xfrm>
            <a:off x="8255000" y="4398963"/>
            <a:ext cx="287338" cy="0"/>
          </a:xfrm>
          <a:prstGeom prst="straightConnector1">
            <a:avLst/>
          </a:prstGeom>
          <a:noFill/>
          <a:ln w="19050">
            <a:solidFill>
              <a:srgbClr val="00B0F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1" name="직선 화살표 연결선 33"/>
          <p:cNvCxnSpPr>
            <a:cxnSpLocks noChangeShapeType="1"/>
            <a:stCxn id="26633" idx="3"/>
            <a:endCxn id="26637" idx="1"/>
          </p:cNvCxnSpPr>
          <p:nvPr/>
        </p:nvCxnSpPr>
        <p:spPr bwMode="auto">
          <a:xfrm>
            <a:off x="2876550" y="5106988"/>
            <a:ext cx="1273175" cy="0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2" name="직선 화살표 연결선 33"/>
          <p:cNvCxnSpPr>
            <a:cxnSpLocks noChangeShapeType="1"/>
            <a:stCxn id="26637" idx="3"/>
            <a:endCxn id="26636" idx="1"/>
          </p:cNvCxnSpPr>
          <p:nvPr/>
        </p:nvCxnSpPr>
        <p:spPr bwMode="auto">
          <a:xfrm flipV="1">
            <a:off x="6165850" y="4398963"/>
            <a:ext cx="1296988" cy="70802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3" name="직선 화살표 연결선 33"/>
          <p:cNvCxnSpPr>
            <a:cxnSpLocks noChangeShapeType="1"/>
            <a:stCxn id="26635" idx="3"/>
            <a:endCxn id="26636" idx="1"/>
          </p:cNvCxnSpPr>
          <p:nvPr/>
        </p:nvCxnSpPr>
        <p:spPr bwMode="auto">
          <a:xfrm>
            <a:off x="6165850" y="3843338"/>
            <a:ext cx="1296988" cy="55562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4" name="직선 화살표 연결선 33"/>
          <p:cNvCxnSpPr>
            <a:cxnSpLocks noChangeShapeType="1"/>
            <a:stCxn id="26628" idx="0"/>
            <a:endCxn id="26634" idx="1"/>
          </p:cNvCxnSpPr>
          <p:nvPr/>
        </p:nvCxnSpPr>
        <p:spPr bwMode="auto">
          <a:xfrm flipV="1">
            <a:off x="1831975" y="3071813"/>
            <a:ext cx="949325" cy="53657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5" name="직선 화살표 연결선 33"/>
          <p:cNvCxnSpPr>
            <a:cxnSpLocks noChangeShapeType="1"/>
            <a:stCxn id="26634" idx="3"/>
            <a:endCxn id="26635" idx="0"/>
          </p:cNvCxnSpPr>
          <p:nvPr/>
        </p:nvCxnSpPr>
        <p:spPr bwMode="auto">
          <a:xfrm>
            <a:off x="4510088" y="3071813"/>
            <a:ext cx="647700" cy="53657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6" name="직선 화살표 연결선 61"/>
          <p:cNvCxnSpPr>
            <a:cxnSpLocks noChangeShapeType="1"/>
            <a:stCxn id="26638" idx="3"/>
            <a:endCxn id="26639" idx="1"/>
          </p:cNvCxnSpPr>
          <p:nvPr/>
        </p:nvCxnSpPr>
        <p:spPr bwMode="auto">
          <a:xfrm>
            <a:off x="9334500" y="4398963"/>
            <a:ext cx="288925" cy="0"/>
          </a:xfrm>
          <a:prstGeom prst="straightConnector1">
            <a:avLst/>
          </a:prstGeom>
          <a:noFill/>
          <a:ln w="19050">
            <a:solidFill>
              <a:srgbClr val="00B0F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47" name="Content Placeholder 4"/>
          <p:cNvSpPr>
            <a:spLocks noGrp="1"/>
          </p:cNvSpPr>
          <p:nvPr>
            <p:ph sz="half" idx="4294967295"/>
          </p:nvPr>
        </p:nvSpPr>
        <p:spPr>
          <a:xfrm>
            <a:off x="549275" y="1268413"/>
            <a:ext cx="11026775" cy="450850"/>
          </a:xfrm>
        </p:spPr>
        <p:txBody>
          <a:bodyPr lIns="90000" tIns="45000" rIns="90000" bIns="45000"/>
          <a:lstStyle/>
          <a:p>
            <a:pPr marL="0" indent="0" eaLnBrk="1" hangingPunct="1">
              <a:lnSpc>
                <a:spcPct val="104000"/>
              </a:lnSpc>
              <a:spcAft>
                <a:spcPct val="0"/>
              </a:spcAft>
              <a:buClr>
                <a:srgbClr val="0072A8"/>
              </a:buClr>
              <a:buSzPct val="110000"/>
              <a:buFont typeface="Arial" charset="0"/>
              <a:buChar char="•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n-US" sz="2200"/>
              <a:t> Cellular technologies are merging, what about V2X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27008CFB-FC48-7C4A-A4EE-E0E21C0687CA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1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8675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Annex B: Evolution of IMS Standardization</a:t>
            </a:r>
          </a:p>
        </p:txBody>
      </p:sp>
      <p:sp>
        <p:nvSpPr>
          <p:cNvPr id="28676" name="오각형 45"/>
          <p:cNvSpPr>
            <a:spLocks noChangeArrowheads="1"/>
          </p:cNvSpPr>
          <p:nvPr/>
        </p:nvSpPr>
        <p:spPr bwMode="auto">
          <a:xfrm>
            <a:off x="4040188" y="1885950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6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77" name="오각형 2"/>
          <p:cNvSpPr>
            <a:spLocks noChangeArrowheads="1"/>
          </p:cNvSpPr>
          <p:nvPr/>
        </p:nvSpPr>
        <p:spPr bwMode="auto">
          <a:xfrm>
            <a:off x="1846263" y="1916113"/>
            <a:ext cx="2160587" cy="504825"/>
          </a:xfrm>
          <a:prstGeom prst="homePlate">
            <a:avLst>
              <a:gd name="adj" fmla="val 49932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Pre 3GPP</a:t>
            </a:r>
            <a:br>
              <a:rPr lang="en-US" altLang="ko-KR" b="1">
                <a:solidFill>
                  <a:schemeClr val="tx1"/>
                </a:solidFill>
              </a:rPr>
            </a:br>
            <a:r>
              <a:rPr lang="en-US" altLang="ko-KR" b="1">
                <a:solidFill>
                  <a:schemeClr val="tx1"/>
                </a:solidFill>
              </a:rPr>
              <a:t>Release 6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78" name="직사각형 1"/>
          <p:cNvSpPr>
            <a:spLocks noChangeArrowheads="1"/>
          </p:cNvSpPr>
          <p:nvPr/>
        </p:nvSpPr>
        <p:spPr bwMode="auto">
          <a:xfrm>
            <a:off x="404813" y="2708275"/>
            <a:ext cx="1295400" cy="1152525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79" name="직사각형 1"/>
          <p:cNvSpPr>
            <a:spLocks noChangeArrowheads="1"/>
          </p:cNvSpPr>
          <p:nvPr/>
        </p:nvSpPr>
        <p:spPr bwMode="auto">
          <a:xfrm>
            <a:off x="2349500" y="4495800"/>
            <a:ext cx="3744913" cy="1525588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2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0" name="직사각형 1"/>
          <p:cNvSpPr>
            <a:spLocks noChangeArrowheads="1"/>
          </p:cNvSpPr>
          <p:nvPr/>
        </p:nvSpPr>
        <p:spPr bwMode="auto">
          <a:xfrm>
            <a:off x="2028825" y="2841625"/>
            <a:ext cx="1727200" cy="46831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1" name="직사각형 1"/>
          <p:cNvSpPr>
            <a:spLocks noChangeArrowheads="1"/>
          </p:cNvSpPr>
          <p:nvPr/>
        </p:nvSpPr>
        <p:spPr bwMode="auto">
          <a:xfrm>
            <a:off x="7173913" y="5257800"/>
            <a:ext cx="1622425" cy="47466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IMS Release-1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2" name="오각형 45"/>
          <p:cNvSpPr>
            <a:spLocks noChangeArrowheads="1"/>
          </p:cNvSpPr>
          <p:nvPr/>
        </p:nvSpPr>
        <p:spPr bwMode="auto">
          <a:xfrm>
            <a:off x="5875338" y="1885950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7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3" name="오각형 45"/>
          <p:cNvSpPr>
            <a:spLocks noChangeArrowheads="1"/>
          </p:cNvSpPr>
          <p:nvPr/>
        </p:nvSpPr>
        <p:spPr bwMode="auto">
          <a:xfrm>
            <a:off x="7740650" y="1879600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8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4" name="오각형 45"/>
          <p:cNvSpPr>
            <a:spLocks noChangeArrowheads="1"/>
          </p:cNvSpPr>
          <p:nvPr/>
        </p:nvSpPr>
        <p:spPr bwMode="auto">
          <a:xfrm>
            <a:off x="9605963" y="1874838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9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5" name="직사각형 1"/>
          <p:cNvSpPr>
            <a:spLocks noChangeArrowheads="1"/>
          </p:cNvSpPr>
          <p:nvPr/>
        </p:nvSpPr>
        <p:spPr bwMode="auto">
          <a:xfrm>
            <a:off x="4060825" y="2841625"/>
            <a:ext cx="1728788" cy="67151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(i.e. Access agnostic)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6" name="직사각형 1"/>
          <p:cNvSpPr>
            <a:spLocks noChangeArrowheads="1"/>
          </p:cNvSpPr>
          <p:nvPr/>
        </p:nvSpPr>
        <p:spPr bwMode="auto">
          <a:xfrm>
            <a:off x="5919788" y="2841625"/>
            <a:ext cx="1727200" cy="67151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7" name="직사각형 1"/>
          <p:cNvSpPr>
            <a:spLocks noChangeArrowheads="1"/>
          </p:cNvSpPr>
          <p:nvPr/>
        </p:nvSpPr>
        <p:spPr bwMode="auto">
          <a:xfrm>
            <a:off x="7777163" y="2841625"/>
            <a:ext cx="1728787" cy="803275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8" name="직사각형 1"/>
          <p:cNvSpPr>
            <a:spLocks noChangeArrowheads="1"/>
          </p:cNvSpPr>
          <p:nvPr/>
        </p:nvSpPr>
        <p:spPr bwMode="auto">
          <a:xfrm>
            <a:off x="9636125" y="2841625"/>
            <a:ext cx="1728788" cy="1019175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9" name="직사각형 1"/>
          <p:cNvSpPr>
            <a:spLocks noChangeArrowheads="1"/>
          </p:cNvSpPr>
          <p:nvPr/>
        </p:nvSpPr>
        <p:spPr bwMode="auto">
          <a:xfrm>
            <a:off x="7031038" y="4495800"/>
            <a:ext cx="3743325" cy="1525588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TISPAN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90" name="직사각형 1"/>
          <p:cNvSpPr>
            <a:spLocks noChangeArrowheads="1"/>
          </p:cNvSpPr>
          <p:nvPr/>
        </p:nvSpPr>
        <p:spPr bwMode="auto">
          <a:xfrm>
            <a:off x="9005888" y="5257800"/>
            <a:ext cx="1624012" cy="47466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IMS Release-2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8691" name="직선 화살표 연결선 33"/>
          <p:cNvCxnSpPr>
            <a:cxnSpLocks noChangeShapeType="1"/>
            <a:stCxn id="28681" idx="0"/>
            <a:endCxn id="28686" idx="2"/>
          </p:cNvCxnSpPr>
          <p:nvPr/>
        </p:nvCxnSpPr>
        <p:spPr bwMode="auto">
          <a:xfrm flipH="1" flipV="1">
            <a:off x="6783388" y="3513138"/>
            <a:ext cx="1201737" cy="1744662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692" name="직선 화살표 연결선 33"/>
          <p:cNvCxnSpPr>
            <a:cxnSpLocks noChangeShapeType="1"/>
            <a:stCxn id="28690" idx="0"/>
            <a:endCxn id="28687" idx="2"/>
          </p:cNvCxnSpPr>
          <p:nvPr/>
        </p:nvCxnSpPr>
        <p:spPr bwMode="auto">
          <a:xfrm flipH="1" flipV="1">
            <a:off x="8642350" y="3644900"/>
            <a:ext cx="1176338" cy="1612900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693" name="직사각형 1"/>
          <p:cNvSpPr>
            <a:spLocks noChangeArrowheads="1"/>
          </p:cNvSpPr>
          <p:nvPr/>
        </p:nvSpPr>
        <p:spPr bwMode="auto">
          <a:xfrm>
            <a:off x="2600325" y="5313363"/>
            <a:ext cx="1622425" cy="474662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MMD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specs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8694" name="직선 화살표 연결선 33"/>
          <p:cNvCxnSpPr>
            <a:cxnSpLocks noChangeShapeType="1"/>
            <a:stCxn id="28693" idx="0"/>
            <a:endCxn id="28687" idx="2"/>
          </p:cNvCxnSpPr>
          <p:nvPr/>
        </p:nvCxnSpPr>
        <p:spPr bwMode="auto">
          <a:xfrm flipV="1">
            <a:off x="3411538" y="3644900"/>
            <a:ext cx="5230812" cy="1668463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695" name="Content Placeholder 4"/>
          <p:cNvSpPr>
            <a:spLocks noGrp="1"/>
          </p:cNvSpPr>
          <p:nvPr>
            <p:ph sz="half" idx="4294967295"/>
          </p:nvPr>
        </p:nvSpPr>
        <p:spPr>
          <a:xfrm>
            <a:off x="549275" y="1268413"/>
            <a:ext cx="11026775" cy="450850"/>
          </a:xfrm>
        </p:spPr>
        <p:txBody>
          <a:bodyPr lIns="90000" tIns="45000" rIns="90000" bIns="45000"/>
          <a:lstStyle/>
          <a:p>
            <a:pPr marL="0" indent="0" eaLnBrk="1" hangingPunct="1">
              <a:lnSpc>
                <a:spcPct val="104000"/>
              </a:lnSpc>
              <a:spcAft>
                <a:spcPct val="0"/>
              </a:spcAft>
              <a:buClr>
                <a:srgbClr val="0072A8"/>
              </a:buClr>
              <a:buSzPct val="110000"/>
              <a:buFont typeface="Arial" charset="0"/>
              <a:buChar char="•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n-US" sz="2200"/>
              <a:t> IMS specification also converged, then what about V2X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FF7CB2C2-FA73-EA4B-905D-EF80FEAF10B8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2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30723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Annex C: Co-existence example</a:t>
            </a:r>
          </a:p>
        </p:txBody>
      </p:sp>
      <p:sp>
        <p:nvSpPr>
          <p:cNvPr id="30724" name="Content Placeholder 4"/>
          <p:cNvSpPr>
            <a:spLocks noGrp="1"/>
          </p:cNvSpPr>
          <p:nvPr>
            <p:ph sz="half" idx="4294967295"/>
          </p:nvPr>
        </p:nvSpPr>
        <p:spPr>
          <a:xfrm>
            <a:off x="549275" y="1268413"/>
            <a:ext cx="11026775" cy="450850"/>
          </a:xfrm>
        </p:spPr>
        <p:txBody>
          <a:bodyPr lIns="90000" tIns="45000" rIns="90000" bIns="45000"/>
          <a:lstStyle/>
          <a:p>
            <a:pPr marL="0" indent="0" eaLnBrk="1" hangingPunct="1">
              <a:lnSpc>
                <a:spcPct val="104000"/>
              </a:lnSpc>
              <a:spcAft>
                <a:spcPct val="0"/>
              </a:spcAft>
              <a:buClr>
                <a:srgbClr val="0072A8"/>
              </a:buClr>
              <a:buSzPct val="110000"/>
              <a:buFont typeface="Arial" charset="0"/>
              <a:buChar char="•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n-US" sz="2200"/>
              <a:t> 5GAA’s approach on co-existence</a:t>
            </a:r>
          </a:p>
        </p:txBody>
      </p:sp>
      <p:pic>
        <p:nvPicPr>
          <p:cNvPr id="30725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2740025"/>
            <a:ext cx="3208338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663" y="2505075"/>
            <a:ext cx="4641850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713" y="2517775"/>
            <a:ext cx="3768725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E06F4E6B-7B41-1F42-9BB0-2D3023957300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3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32771" name="Rectangle 4"/>
          <p:cNvSpPr>
            <a:spLocks noChangeArrowheads="1"/>
          </p:cNvSpPr>
          <p:nvPr/>
        </p:nvSpPr>
        <p:spPr bwMode="auto">
          <a:xfrm>
            <a:off x="1846263" y="2133600"/>
            <a:ext cx="8137525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5000" rIns="90000" bIns="45000"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-US" altLang="en-US" sz="3600" b="1">
                <a:solidFill>
                  <a:srgbClr val="006DA7"/>
                </a:solidFill>
                <a:latin typeface="Verdana" charset="0"/>
              </a:rPr>
              <a:t>Thank you</a:t>
            </a:r>
          </a:p>
        </p:txBody>
      </p:sp>
      <p:sp>
        <p:nvSpPr>
          <p:cNvPr id="32772" name="Rectangle 5"/>
          <p:cNvSpPr>
            <a:spLocks noChangeArrowheads="1"/>
          </p:cNvSpPr>
          <p:nvPr/>
        </p:nvSpPr>
        <p:spPr bwMode="auto">
          <a:xfrm>
            <a:off x="1198563" y="3068638"/>
            <a:ext cx="9694862" cy="208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5000" rIns="90000" bIns="45000"/>
          <a:lstStyle>
            <a:lvl1pPr marL="215900" indent="-214313"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 algn="ctr" eaLnBrk="1" hangingPunct="1">
              <a:lnSpc>
                <a:spcPct val="104000"/>
              </a:lnSpc>
              <a:buSzPct val="100000"/>
            </a:pPr>
            <a:r>
              <a:rPr lang="en-US" altLang="en-US" sz="2200" dirty="0">
                <a:solidFill>
                  <a:srgbClr val="000000"/>
                </a:solidFill>
                <a:latin typeface="Verdana" charset="0"/>
              </a:rPr>
              <a:t>For more information, please contact:  </a:t>
            </a:r>
            <a:r>
              <a:rPr lang="en-US" altLang="en-US" sz="2200" dirty="0" err="1">
                <a:solidFill>
                  <a:srgbClr val="000000"/>
                </a:solidFill>
                <a:latin typeface="Verdana" charset="0"/>
              </a:rPr>
              <a:t>Sungduck</a:t>
            </a:r>
            <a:r>
              <a:rPr lang="en-US" altLang="en-US" sz="2200" dirty="0">
                <a:solidFill>
                  <a:srgbClr val="000000"/>
                </a:solidFill>
                <a:latin typeface="Verdana" charset="0"/>
              </a:rPr>
              <a:t> Chun</a:t>
            </a:r>
          </a:p>
          <a:p>
            <a:pPr algn="ctr" eaLnBrk="1" hangingPunct="1">
              <a:lnSpc>
                <a:spcPct val="104000"/>
              </a:lnSpc>
              <a:buSzPct val="100000"/>
            </a:pPr>
            <a:r>
              <a:rPr lang="en-US" altLang="en-US" sz="2200" smtClean="0">
                <a:solidFill>
                  <a:srgbClr val="006DA7"/>
                </a:solidFill>
                <a:latin typeface="Verdana" charset="0"/>
                <a:hlinkClick r:id="rId3"/>
              </a:rPr>
              <a:t>sungduck.chun@lge.com</a:t>
            </a:r>
            <a:r>
              <a:rPr lang="en-US" altLang="en-US" sz="2200" dirty="0" smtClean="0">
                <a:solidFill>
                  <a:srgbClr val="006DA7"/>
                </a:solidFill>
                <a:latin typeface="Verdana" charset="0"/>
                <a:hlinkClick r:id="rId3"/>
              </a:rPr>
              <a:t>  </a:t>
            </a: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/>
            <a:r>
              <a:rPr lang="en-US" altLang="en-US" sz="2200" dirty="0">
                <a:solidFill>
                  <a:srgbClr val="000000"/>
                </a:solidFill>
                <a:latin typeface="Verdana" charset="0"/>
              </a:rPr>
              <a:t>Affiliation Name:  </a:t>
            </a:r>
          </a:p>
          <a:p>
            <a:pPr algn="ctr"/>
            <a:r>
              <a:rPr lang="en-US" altLang="en-US" sz="2200" dirty="0">
                <a:solidFill>
                  <a:srgbClr val="006DA7"/>
                </a:solidFill>
                <a:latin typeface="Verdana" charset="0"/>
                <a:hlinkClick r:id="rId4"/>
              </a:rPr>
              <a:t>www.lge.com </a:t>
            </a:r>
            <a:r>
              <a:rPr lang="en-US" altLang="en-US" sz="2200" dirty="0">
                <a:solidFill>
                  <a:srgbClr val="006DA7"/>
                </a:solidFill>
                <a:latin typeface="Verdana" charset="0"/>
              </a:rPr>
              <a:t> </a:t>
            </a: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4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r>
              <a:rPr lang="en-US" altLang="en-US" sz="2200" dirty="0">
                <a:solidFill>
                  <a:srgbClr val="000000"/>
                </a:solidFill>
              </a:rPr>
              <a:t> </a:t>
            </a: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F76C6754-C171-604A-96AB-28E6CFE4D918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2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0243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Topics in this presentation</a:t>
            </a:r>
          </a:p>
        </p:txBody>
      </p:sp>
      <p:sp>
        <p:nvSpPr>
          <p:cNvPr id="10244" name="Content Placeholder 4"/>
          <p:cNvSpPr>
            <a:spLocks noGrp="1"/>
          </p:cNvSpPr>
          <p:nvPr>
            <p:ph sz="half" idx="12"/>
          </p:nvPr>
        </p:nvSpPr>
        <p:spPr>
          <a:xfrm>
            <a:off x="549275" y="1412875"/>
            <a:ext cx="9145588" cy="1295400"/>
          </a:xfrm>
        </p:spPr>
        <p:txBody>
          <a:bodyPr/>
          <a:lstStyle/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Introduction to autonomous vehicles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he role of communication in autonomous vehicles 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Standardization activities of C-V2X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Performance of C-V2X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opics for discussion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endParaRPr lang="en-US" altLang="en-US" sz="2200"/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endParaRPr lang="en-US" altLang="en-US" sz="22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9FC2D479-9837-A94B-9273-27970CC61469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3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Levels of autonomous driving</a:t>
            </a:r>
          </a:p>
        </p:txBody>
      </p:sp>
      <p:sp>
        <p:nvSpPr>
          <p:cNvPr id="12292" name="Content Placeholder 4"/>
          <p:cNvSpPr>
            <a:spLocks noGrp="1"/>
          </p:cNvSpPr>
          <p:nvPr>
            <p:ph sz="half" idx="12"/>
          </p:nvPr>
        </p:nvSpPr>
        <p:spPr>
          <a:xfrm>
            <a:off x="549275" y="1412875"/>
            <a:ext cx="10729913" cy="1295400"/>
          </a:xfrm>
        </p:spPr>
        <p:txBody>
          <a:bodyPr/>
          <a:lstStyle/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here are multiple levels for autonomous vehicles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</a:pPr>
            <a:r>
              <a:rPr lang="en-US" altLang="en-US" sz="2200"/>
              <a:t> </a:t>
            </a:r>
          </a:p>
        </p:txBody>
      </p:sp>
      <p:sp>
        <p:nvSpPr>
          <p:cNvPr id="12293" name="오각형 49"/>
          <p:cNvSpPr>
            <a:spLocks noChangeArrowheads="1"/>
          </p:cNvSpPr>
          <p:nvPr/>
        </p:nvSpPr>
        <p:spPr bwMode="auto">
          <a:xfrm>
            <a:off x="9226550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5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Full automation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4" name="오각형 48"/>
          <p:cNvSpPr>
            <a:spLocks noChangeArrowheads="1"/>
          </p:cNvSpPr>
          <p:nvPr/>
        </p:nvSpPr>
        <p:spPr bwMode="auto">
          <a:xfrm>
            <a:off x="7283450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4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High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5" name="오각형 46"/>
          <p:cNvSpPr>
            <a:spLocks noChangeArrowheads="1"/>
          </p:cNvSpPr>
          <p:nvPr/>
        </p:nvSpPr>
        <p:spPr bwMode="auto">
          <a:xfrm>
            <a:off x="5338763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3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nditional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6" name="오각형 45"/>
          <p:cNvSpPr>
            <a:spLocks noChangeArrowheads="1"/>
          </p:cNvSpPr>
          <p:nvPr/>
        </p:nvSpPr>
        <p:spPr bwMode="auto">
          <a:xfrm>
            <a:off x="3394075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2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Partial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7" name="오각형 2"/>
          <p:cNvSpPr>
            <a:spLocks noChangeArrowheads="1"/>
          </p:cNvSpPr>
          <p:nvPr/>
        </p:nvSpPr>
        <p:spPr bwMode="auto">
          <a:xfrm>
            <a:off x="1449388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1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Driver Assistance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8" name="Content Placeholder 1"/>
          <p:cNvSpPr>
            <a:spLocks noGrp="1"/>
          </p:cNvSpPr>
          <p:nvPr>
            <p:ph idx="4294967295"/>
          </p:nvPr>
        </p:nvSpPr>
        <p:spPr>
          <a:xfrm>
            <a:off x="1449388" y="2562225"/>
            <a:ext cx="1944687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assistance by using either steering or braking/ acceleration</a:t>
            </a:r>
          </a:p>
        </p:txBody>
      </p:sp>
      <p:sp>
        <p:nvSpPr>
          <p:cNvPr id="12299" name="Content Placeholder 1"/>
          <p:cNvSpPr>
            <a:spLocks noGrp="1"/>
          </p:cNvSpPr>
          <p:nvPr>
            <p:ph idx="4294967295"/>
          </p:nvPr>
        </p:nvSpPr>
        <p:spPr>
          <a:xfrm>
            <a:off x="3394075" y="2562225"/>
            <a:ext cx="1944688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er assistance by combining multiple operation simultaneously (e.g. by steering control while accelerating)</a:t>
            </a:r>
          </a:p>
        </p:txBody>
      </p:sp>
      <p:sp>
        <p:nvSpPr>
          <p:cNvPr id="12300" name="Content Placeholder 1"/>
          <p:cNvSpPr>
            <a:spLocks noGrp="1"/>
          </p:cNvSpPr>
          <p:nvPr>
            <p:ph idx="4294967295"/>
          </p:nvPr>
        </p:nvSpPr>
        <p:spPr>
          <a:xfrm>
            <a:off x="5338763" y="2562225"/>
            <a:ext cx="1944687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control with assumption that drivers can intervene when requested</a:t>
            </a:r>
          </a:p>
        </p:txBody>
      </p:sp>
      <p:sp>
        <p:nvSpPr>
          <p:cNvPr id="12301" name="Content Placeholder 1"/>
          <p:cNvSpPr>
            <a:spLocks noGrp="1"/>
          </p:cNvSpPr>
          <p:nvPr>
            <p:ph idx="4294967295"/>
          </p:nvPr>
        </p:nvSpPr>
        <p:spPr>
          <a:xfrm>
            <a:off x="7283450" y="2562225"/>
            <a:ext cx="1943100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control even if drivers can not react immediately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Not applicable to all scenarios (e.g. highway driving, parking) </a:t>
            </a:r>
          </a:p>
        </p:txBody>
      </p:sp>
      <p:sp>
        <p:nvSpPr>
          <p:cNvPr id="12302" name="Content Placeholder 1"/>
          <p:cNvSpPr>
            <a:spLocks noGrp="1"/>
          </p:cNvSpPr>
          <p:nvPr>
            <p:ph idx="4294967295"/>
          </p:nvPr>
        </p:nvSpPr>
        <p:spPr>
          <a:xfrm>
            <a:off x="9226550" y="2562225"/>
            <a:ext cx="1944688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control even if drivers can not react immediately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pplicable full-time</a:t>
            </a:r>
          </a:p>
        </p:txBody>
      </p:sp>
      <p:sp>
        <p:nvSpPr>
          <p:cNvPr id="12303" name="직사각형 66"/>
          <p:cNvSpPr>
            <a:spLocks noChangeArrowheads="1"/>
          </p:cNvSpPr>
          <p:nvPr/>
        </p:nvSpPr>
        <p:spPr bwMode="auto">
          <a:xfrm>
            <a:off x="190500" y="2562225"/>
            <a:ext cx="1150938" cy="1587500"/>
          </a:xfrm>
          <a:prstGeom prst="rect">
            <a:avLst/>
          </a:prstGeom>
          <a:solidFill>
            <a:srgbClr val="FEFEC4">
              <a:alpha val="54117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Overview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304" name="직사각형 67"/>
          <p:cNvSpPr>
            <a:spLocks noChangeArrowheads="1"/>
          </p:cNvSpPr>
          <p:nvPr/>
        </p:nvSpPr>
        <p:spPr bwMode="auto">
          <a:xfrm>
            <a:off x="190500" y="4365625"/>
            <a:ext cx="1150938" cy="1585913"/>
          </a:xfrm>
          <a:prstGeom prst="rect">
            <a:avLst/>
          </a:prstGeom>
          <a:solidFill>
            <a:srgbClr val="FEFEC4">
              <a:alpha val="54117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Benefit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305" name="Content Placeholder 1"/>
          <p:cNvSpPr>
            <a:spLocks noGrp="1"/>
          </p:cNvSpPr>
          <p:nvPr>
            <p:ph idx="4294967295"/>
          </p:nvPr>
        </p:nvSpPr>
        <p:spPr>
          <a:xfrm>
            <a:off x="1449388" y="4365625"/>
            <a:ext cx="1944687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ssist drivers attention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ssist driver with basic repetitive operations</a:t>
            </a:r>
          </a:p>
        </p:txBody>
      </p:sp>
      <p:sp>
        <p:nvSpPr>
          <p:cNvPr id="12306" name="Content Placeholder 1"/>
          <p:cNvSpPr>
            <a:spLocks noGrp="1"/>
          </p:cNvSpPr>
          <p:nvPr>
            <p:ph idx="4294967295"/>
          </p:nvPr>
        </p:nvSpPr>
        <p:spPr>
          <a:xfrm>
            <a:off x="3394075" y="4365625"/>
            <a:ext cx="1944688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ssist driver by doing some operations such as lane changing. 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Burden on the driver can be reduced</a:t>
            </a:r>
          </a:p>
        </p:txBody>
      </p:sp>
      <p:sp>
        <p:nvSpPr>
          <p:cNvPr id="12307" name="Content Placeholder 1"/>
          <p:cNvSpPr>
            <a:spLocks noGrp="1"/>
          </p:cNvSpPr>
          <p:nvPr>
            <p:ph idx="4294967295"/>
          </p:nvPr>
        </p:nvSpPr>
        <p:spPr>
          <a:xfrm>
            <a:off x="5338763" y="4365625"/>
            <a:ext cx="1944687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ers may do other tasks as long as drivers can take control when requested by driving system</a:t>
            </a:r>
          </a:p>
        </p:txBody>
      </p:sp>
      <p:sp>
        <p:nvSpPr>
          <p:cNvPr id="12308" name="Content Placeholder 1"/>
          <p:cNvSpPr>
            <a:spLocks noGrp="1"/>
          </p:cNvSpPr>
          <p:nvPr>
            <p:ph idx="4294967295"/>
          </p:nvPr>
        </p:nvSpPr>
        <p:spPr>
          <a:xfrm>
            <a:off x="7283450" y="4365625"/>
            <a:ext cx="1943100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In certain scenario, driver can do other task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Efficient use of time by drivers</a:t>
            </a:r>
          </a:p>
        </p:txBody>
      </p:sp>
      <p:sp>
        <p:nvSpPr>
          <p:cNvPr id="12309" name="Content Placeholder 1"/>
          <p:cNvSpPr>
            <a:spLocks noGrp="1"/>
          </p:cNvSpPr>
          <p:nvPr>
            <p:ph idx="4294967295"/>
          </p:nvPr>
        </p:nvSpPr>
        <p:spPr>
          <a:xfrm>
            <a:off x="9226550" y="4365625"/>
            <a:ext cx="1944688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ers can always do other tasks than driving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Reduced traffic jam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Operation efficiency of vehicles maximized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</a:pPr>
            <a:endParaRPr lang="en-US" altLang="en-US" sz="13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1512C8DA-4523-D54A-BD8D-FFBD872630E6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4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4339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Elements to the next levels</a:t>
            </a:r>
          </a:p>
        </p:txBody>
      </p:sp>
      <p:sp>
        <p:nvSpPr>
          <p:cNvPr id="14340" name="Content Placeholder 4"/>
          <p:cNvSpPr>
            <a:spLocks noGrp="1"/>
          </p:cNvSpPr>
          <p:nvPr>
            <p:ph sz="half" idx="12"/>
          </p:nvPr>
        </p:nvSpPr>
        <p:spPr>
          <a:xfrm>
            <a:off x="549275" y="1412875"/>
            <a:ext cx="10729913" cy="1295400"/>
          </a:xfrm>
        </p:spPr>
        <p:txBody>
          <a:bodyPr/>
          <a:lstStyle/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here are multiple levels for autonomous vehicles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</a:pPr>
            <a:r>
              <a:rPr lang="en-US" altLang="en-US" sz="2200"/>
              <a:t> </a:t>
            </a:r>
          </a:p>
        </p:txBody>
      </p:sp>
      <p:sp>
        <p:nvSpPr>
          <p:cNvPr id="14341" name="오각형 49"/>
          <p:cNvSpPr>
            <a:spLocks noChangeArrowheads="1"/>
          </p:cNvSpPr>
          <p:nvPr/>
        </p:nvSpPr>
        <p:spPr bwMode="auto">
          <a:xfrm>
            <a:off x="10882313" y="1844675"/>
            <a:ext cx="1044575" cy="504825"/>
          </a:xfrm>
          <a:prstGeom prst="homePlate">
            <a:avLst>
              <a:gd name="adj" fmla="val 49948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5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2" name="오각형 48"/>
          <p:cNvSpPr>
            <a:spLocks noChangeArrowheads="1"/>
          </p:cNvSpPr>
          <p:nvPr/>
        </p:nvSpPr>
        <p:spPr bwMode="auto">
          <a:xfrm>
            <a:off x="10379075" y="2205038"/>
            <a:ext cx="1044575" cy="503237"/>
          </a:xfrm>
          <a:prstGeom prst="homePlate">
            <a:avLst>
              <a:gd name="adj" fmla="val 50105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4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3" name="오각형 46"/>
          <p:cNvSpPr>
            <a:spLocks noChangeArrowheads="1"/>
          </p:cNvSpPr>
          <p:nvPr/>
        </p:nvSpPr>
        <p:spPr bwMode="auto">
          <a:xfrm>
            <a:off x="7065963" y="2674938"/>
            <a:ext cx="1044575" cy="503237"/>
          </a:xfrm>
          <a:prstGeom prst="homePlate">
            <a:avLst>
              <a:gd name="adj" fmla="val 50105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3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4" name="오각형 45"/>
          <p:cNvSpPr>
            <a:spLocks noChangeArrowheads="1"/>
          </p:cNvSpPr>
          <p:nvPr/>
        </p:nvSpPr>
        <p:spPr bwMode="auto">
          <a:xfrm>
            <a:off x="3849688" y="3429000"/>
            <a:ext cx="1044575" cy="503238"/>
          </a:xfrm>
          <a:prstGeom prst="homePlate">
            <a:avLst>
              <a:gd name="adj" fmla="val 50105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2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5" name="오각형 2"/>
          <p:cNvSpPr>
            <a:spLocks noChangeArrowheads="1"/>
          </p:cNvSpPr>
          <p:nvPr/>
        </p:nvSpPr>
        <p:spPr bwMode="auto">
          <a:xfrm>
            <a:off x="584200" y="4552950"/>
            <a:ext cx="1044575" cy="504825"/>
          </a:xfrm>
          <a:prstGeom prst="homePlate">
            <a:avLst>
              <a:gd name="adj" fmla="val 49948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1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6" name="오른쪽 화살표 21"/>
          <p:cNvSpPr>
            <a:spLocks noChangeArrowheads="1"/>
          </p:cNvSpPr>
          <p:nvPr/>
        </p:nvSpPr>
        <p:spPr bwMode="auto">
          <a:xfrm>
            <a:off x="8043863" y="2663825"/>
            <a:ext cx="2449512" cy="368300"/>
          </a:xfrm>
          <a:prstGeom prst="rightArrow">
            <a:avLst>
              <a:gd name="adj1" fmla="val 36500"/>
              <a:gd name="adj2" fmla="val 38766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347" name="Content Placeholder 1"/>
          <p:cNvSpPr>
            <a:spLocks noGrp="1"/>
          </p:cNvSpPr>
          <p:nvPr>
            <p:ph idx="4294967295"/>
          </p:nvPr>
        </p:nvSpPr>
        <p:spPr>
          <a:xfrm>
            <a:off x="8183563" y="2959100"/>
            <a:ext cx="3743325" cy="2873375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Fully covered high definition map (e.g. even parking area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ynamic map update (e.g. event-triggered map update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Reliability enhancement in sensing/decision/control (to support even eye-off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Infra-structure assistance (e.g. old vehicles, pedestrians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Understanding of other vehicle (e.g. behavior on curved road, or future trajectory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Cloud computing, artificial intelligence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</p:txBody>
      </p:sp>
      <p:sp>
        <p:nvSpPr>
          <p:cNvPr id="14348" name="오른쪽 화살표 25"/>
          <p:cNvSpPr>
            <a:spLocks noChangeArrowheads="1"/>
          </p:cNvSpPr>
          <p:nvPr/>
        </p:nvSpPr>
        <p:spPr bwMode="auto">
          <a:xfrm>
            <a:off x="4779963" y="3205163"/>
            <a:ext cx="2447925" cy="368300"/>
          </a:xfrm>
          <a:prstGeom prst="rightArrow">
            <a:avLst>
              <a:gd name="adj1" fmla="val 36500"/>
              <a:gd name="adj2" fmla="val 38741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349" name="Content Placeholder 1"/>
          <p:cNvSpPr>
            <a:spLocks noGrp="1"/>
          </p:cNvSpPr>
          <p:nvPr>
            <p:ph idx="4294967295"/>
          </p:nvPr>
        </p:nvSpPr>
        <p:spPr>
          <a:xfrm>
            <a:off x="4926013" y="3500438"/>
            <a:ext cx="2463800" cy="224155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High definition positioning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High definition map (exit, merge, intersection, etc.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ing non-visible area (e.g. during overtaking)</a:t>
            </a:r>
          </a:p>
        </p:txBody>
      </p:sp>
      <p:sp>
        <p:nvSpPr>
          <p:cNvPr id="14350" name="오른쪽 화살표 27"/>
          <p:cNvSpPr>
            <a:spLocks noChangeArrowheads="1"/>
          </p:cNvSpPr>
          <p:nvPr/>
        </p:nvSpPr>
        <p:spPr bwMode="auto">
          <a:xfrm>
            <a:off x="1514475" y="4230688"/>
            <a:ext cx="2447925" cy="366712"/>
          </a:xfrm>
          <a:prstGeom prst="rightArrow">
            <a:avLst>
              <a:gd name="adj1" fmla="val 36500"/>
              <a:gd name="adj2" fmla="val 38909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351" name="Content Placeholder 1"/>
          <p:cNvSpPr>
            <a:spLocks noGrp="1"/>
          </p:cNvSpPr>
          <p:nvPr>
            <p:ph idx="4294967295"/>
          </p:nvPr>
        </p:nvSpPr>
        <p:spPr>
          <a:xfrm>
            <a:off x="1649413" y="4508500"/>
            <a:ext cx="1944687" cy="1341438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dvance in sensor technologie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 fusion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Combination of multiple operation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</a:pPr>
            <a:endParaRPr lang="en-US" altLang="en-US" sz="1300"/>
          </a:p>
        </p:txBody>
      </p:sp>
      <p:cxnSp>
        <p:nvCxnSpPr>
          <p:cNvPr id="14352" name="직선 화살표 연결선 3"/>
          <p:cNvCxnSpPr>
            <a:cxnSpLocks noChangeShapeType="1"/>
          </p:cNvCxnSpPr>
          <p:nvPr/>
        </p:nvCxnSpPr>
        <p:spPr bwMode="auto">
          <a:xfrm flipH="1">
            <a:off x="549275" y="1989138"/>
            <a:ext cx="423068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53" name="직선 연결선 5"/>
          <p:cNvCxnSpPr>
            <a:cxnSpLocks noChangeShapeType="1"/>
          </p:cNvCxnSpPr>
          <p:nvPr/>
        </p:nvCxnSpPr>
        <p:spPr bwMode="auto">
          <a:xfrm>
            <a:off x="4779963" y="1844675"/>
            <a:ext cx="0" cy="81915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54" name="직선 화살표 연결선 33"/>
          <p:cNvCxnSpPr>
            <a:cxnSpLocks noChangeShapeType="1"/>
          </p:cNvCxnSpPr>
          <p:nvPr/>
        </p:nvCxnSpPr>
        <p:spPr bwMode="auto">
          <a:xfrm>
            <a:off x="4779963" y="1989138"/>
            <a:ext cx="388937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355" name="직사각형 35"/>
          <p:cNvSpPr>
            <a:spLocks noChangeArrowheads="1"/>
          </p:cNvSpPr>
          <p:nvPr/>
        </p:nvSpPr>
        <p:spPr bwMode="auto">
          <a:xfrm>
            <a:off x="1270000" y="1854200"/>
            <a:ext cx="2324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Human-based drivin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56" name="직사각형 36"/>
          <p:cNvSpPr>
            <a:spLocks noChangeArrowheads="1"/>
          </p:cNvSpPr>
          <p:nvPr/>
        </p:nvSpPr>
        <p:spPr bwMode="auto">
          <a:xfrm>
            <a:off x="5434013" y="1854200"/>
            <a:ext cx="2324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System-based driving</a:t>
            </a:r>
            <a:endParaRPr lang="ko-KR" altLang="en-US" b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E7EEA4AE-F037-3B46-8E6A-A49BF779F68F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5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Examples of limitation in case of sensors only</a:t>
            </a:r>
          </a:p>
        </p:txBody>
      </p:sp>
      <p:sp>
        <p:nvSpPr>
          <p:cNvPr id="16388" name="Oval 20"/>
          <p:cNvSpPr>
            <a:spLocks noChangeAspect="1" noChangeArrowheads="1"/>
          </p:cNvSpPr>
          <p:nvPr/>
        </p:nvSpPr>
        <p:spPr bwMode="auto">
          <a:xfrm rot="5400000">
            <a:off x="1987550" y="2014538"/>
            <a:ext cx="750888" cy="1452562"/>
          </a:xfrm>
          <a:prstGeom prst="ellipse">
            <a:avLst/>
          </a:prstGeom>
          <a:solidFill>
            <a:schemeClr val="folHlink">
              <a:alpha val="30196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kumimoji="1" lang="ko-KR" altLang="en-US" sz="1400">
              <a:solidFill>
                <a:schemeClr val="tx1"/>
              </a:solidFill>
              <a:latin typeface="맑은 고딕" charset="-127"/>
              <a:ea typeface="맑은 고딕" charset="-127"/>
              <a:cs typeface="가는둥근제목체" charset="0"/>
            </a:endParaRPr>
          </a:p>
        </p:txBody>
      </p:sp>
      <p:grpSp>
        <p:nvGrpSpPr>
          <p:cNvPr id="16389" name="그룹 2"/>
          <p:cNvGrpSpPr>
            <a:grpSpLocks/>
          </p:cNvGrpSpPr>
          <p:nvPr/>
        </p:nvGrpSpPr>
        <p:grpSpPr bwMode="auto">
          <a:xfrm>
            <a:off x="452438" y="2219325"/>
            <a:ext cx="1490662" cy="1066800"/>
            <a:chOff x="1601625" y="3381897"/>
            <a:chExt cx="2576480" cy="2329672"/>
          </a:xfrm>
        </p:grpSpPr>
        <p:grpSp>
          <p:nvGrpSpPr>
            <p:cNvPr id="16421" name="Group 27"/>
            <p:cNvGrpSpPr>
              <a:grpSpLocks noChangeAspect="1"/>
            </p:cNvGrpSpPr>
            <p:nvPr/>
          </p:nvGrpSpPr>
          <p:grpSpPr bwMode="auto">
            <a:xfrm>
              <a:off x="2317620" y="4102451"/>
              <a:ext cx="1578510" cy="933362"/>
              <a:chOff x="173" y="619"/>
              <a:chExt cx="5499" cy="2644"/>
            </a:xfrm>
          </p:grpSpPr>
          <p:sp>
            <p:nvSpPr>
              <p:cNvPr id="16433" name="Freeform 28"/>
              <p:cNvSpPr>
                <a:spLocks noChangeAspect="1"/>
              </p:cNvSpPr>
              <p:nvPr/>
            </p:nvSpPr>
            <p:spPr bwMode="auto">
              <a:xfrm>
                <a:off x="173" y="813"/>
                <a:ext cx="5499" cy="2253"/>
              </a:xfrm>
              <a:custGeom>
                <a:avLst/>
                <a:gdLst>
                  <a:gd name="T0" fmla="*/ 1 w 9242"/>
                  <a:gd name="T1" fmla="*/ 1 h 3786"/>
                  <a:gd name="T2" fmla="*/ 1 w 9242"/>
                  <a:gd name="T3" fmla="*/ 1 h 3786"/>
                  <a:gd name="T4" fmla="*/ 1 w 9242"/>
                  <a:gd name="T5" fmla="*/ 1 h 3786"/>
                  <a:gd name="T6" fmla="*/ 1 w 9242"/>
                  <a:gd name="T7" fmla="*/ 1 h 3786"/>
                  <a:gd name="T8" fmla="*/ 1 w 9242"/>
                  <a:gd name="T9" fmla="*/ 1 h 3786"/>
                  <a:gd name="T10" fmla="*/ 1 w 9242"/>
                  <a:gd name="T11" fmla="*/ 1 h 3786"/>
                  <a:gd name="T12" fmla="*/ 1 w 9242"/>
                  <a:gd name="T13" fmla="*/ 1 h 3786"/>
                  <a:gd name="T14" fmla="*/ 1 w 9242"/>
                  <a:gd name="T15" fmla="*/ 1 h 3786"/>
                  <a:gd name="T16" fmla="*/ 1 w 9242"/>
                  <a:gd name="T17" fmla="*/ 1 h 3786"/>
                  <a:gd name="T18" fmla="*/ 1 w 9242"/>
                  <a:gd name="T19" fmla="*/ 1 h 3786"/>
                  <a:gd name="T20" fmla="*/ 1 w 9242"/>
                  <a:gd name="T21" fmla="*/ 1 h 3786"/>
                  <a:gd name="T22" fmla="*/ 1 w 9242"/>
                  <a:gd name="T23" fmla="*/ 1 h 3786"/>
                  <a:gd name="T24" fmla="*/ 1 w 9242"/>
                  <a:gd name="T25" fmla="*/ 1 h 3786"/>
                  <a:gd name="T26" fmla="*/ 1 w 9242"/>
                  <a:gd name="T27" fmla="*/ 1 h 3786"/>
                  <a:gd name="T28" fmla="*/ 1 w 9242"/>
                  <a:gd name="T29" fmla="*/ 1 h 3786"/>
                  <a:gd name="T30" fmla="*/ 1 w 9242"/>
                  <a:gd name="T31" fmla="*/ 1 h 3786"/>
                  <a:gd name="T32" fmla="*/ 1 w 9242"/>
                  <a:gd name="T33" fmla="*/ 1 h 3786"/>
                  <a:gd name="T34" fmla="*/ 1 w 9242"/>
                  <a:gd name="T35" fmla="*/ 1 h 3786"/>
                  <a:gd name="T36" fmla="*/ 1 w 9242"/>
                  <a:gd name="T37" fmla="*/ 1 h 3786"/>
                  <a:gd name="T38" fmla="*/ 1 w 9242"/>
                  <a:gd name="T39" fmla="*/ 1 h 3786"/>
                  <a:gd name="T40" fmla="*/ 1 w 9242"/>
                  <a:gd name="T41" fmla="*/ 1 h 3786"/>
                  <a:gd name="T42" fmla="*/ 1 w 9242"/>
                  <a:gd name="T43" fmla="*/ 1 h 3786"/>
                  <a:gd name="T44" fmla="*/ 1 w 9242"/>
                  <a:gd name="T45" fmla="*/ 1 h 3786"/>
                  <a:gd name="T46" fmla="*/ 1 w 9242"/>
                  <a:gd name="T47" fmla="*/ 1 h 3786"/>
                  <a:gd name="T48" fmla="*/ 1 w 9242"/>
                  <a:gd name="T49" fmla="*/ 1 h 3786"/>
                  <a:gd name="T50" fmla="*/ 1 w 9242"/>
                  <a:gd name="T51" fmla="*/ 1 h 3786"/>
                  <a:gd name="T52" fmla="*/ 1 w 9242"/>
                  <a:gd name="T53" fmla="*/ 1 h 3786"/>
                  <a:gd name="T54" fmla="*/ 1 w 9242"/>
                  <a:gd name="T55" fmla="*/ 1 h 3786"/>
                  <a:gd name="T56" fmla="*/ 1 w 9242"/>
                  <a:gd name="T57" fmla="*/ 1 h 3786"/>
                  <a:gd name="T58" fmla="*/ 1 w 9242"/>
                  <a:gd name="T59" fmla="*/ 1 h 3786"/>
                  <a:gd name="T60" fmla="*/ 1 w 9242"/>
                  <a:gd name="T61" fmla="*/ 1 h 3786"/>
                  <a:gd name="T62" fmla="*/ 1 w 9242"/>
                  <a:gd name="T63" fmla="*/ 1 h 3786"/>
                  <a:gd name="T64" fmla="*/ 1 w 9242"/>
                  <a:gd name="T65" fmla="*/ 1 h 3786"/>
                  <a:gd name="T66" fmla="*/ 1 w 9242"/>
                  <a:gd name="T67" fmla="*/ 1 h 3786"/>
                  <a:gd name="T68" fmla="*/ 0 w 9242"/>
                  <a:gd name="T69" fmla="*/ 1 h 3786"/>
                  <a:gd name="T70" fmla="*/ 1 w 9242"/>
                  <a:gd name="T71" fmla="*/ 1 h 3786"/>
                  <a:gd name="T72" fmla="*/ 1 w 9242"/>
                  <a:gd name="T73" fmla="*/ 1 h 3786"/>
                  <a:gd name="T74" fmla="*/ 1 w 9242"/>
                  <a:gd name="T75" fmla="*/ 1 h 3786"/>
                  <a:gd name="T76" fmla="*/ 1 w 9242"/>
                  <a:gd name="T77" fmla="*/ 1 h 37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242"/>
                  <a:gd name="T118" fmla="*/ 0 h 3786"/>
                  <a:gd name="T119" fmla="*/ 9242 w 9242"/>
                  <a:gd name="T120" fmla="*/ 3786 h 378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242" h="3786">
                    <a:moveTo>
                      <a:pt x="444" y="208"/>
                    </a:moveTo>
                    <a:lnTo>
                      <a:pt x="498" y="186"/>
                    </a:lnTo>
                    <a:lnTo>
                      <a:pt x="520" y="143"/>
                    </a:lnTo>
                    <a:lnTo>
                      <a:pt x="535" y="136"/>
                    </a:lnTo>
                    <a:cubicBezTo>
                      <a:pt x="553" y="133"/>
                      <a:pt x="555" y="138"/>
                      <a:pt x="627" y="127"/>
                    </a:cubicBezTo>
                    <a:cubicBezTo>
                      <a:pt x="699" y="116"/>
                      <a:pt x="760" y="85"/>
                      <a:pt x="967" y="68"/>
                    </a:cubicBezTo>
                    <a:cubicBezTo>
                      <a:pt x="1174" y="51"/>
                      <a:pt x="1572" y="32"/>
                      <a:pt x="1867" y="27"/>
                    </a:cubicBezTo>
                    <a:cubicBezTo>
                      <a:pt x="2162" y="22"/>
                      <a:pt x="2456" y="37"/>
                      <a:pt x="2737" y="39"/>
                    </a:cubicBezTo>
                    <a:cubicBezTo>
                      <a:pt x="3018" y="41"/>
                      <a:pt x="3054" y="41"/>
                      <a:pt x="3556" y="41"/>
                    </a:cubicBezTo>
                    <a:cubicBezTo>
                      <a:pt x="4058" y="41"/>
                      <a:pt x="5224" y="44"/>
                      <a:pt x="5748" y="42"/>
                    </a:cubicBezTo>
                    <a:cubicBezTo>
                      <a:pt x="6272" y="40"/>
                      <a:pt x="6401" y="31"/>
                      <a:pt x="6700" y="26"/>
                    </a:cubicBezTo>
                    <a:cubicBezTo>
                      <a:pt x="6999" y="21"/>
                      <a:pt x="7278" y="0"/>
                      <a:pt x="7542" y="11"/>
                    </a:cubicBezTo>
                    <a:cubicBezTo>
                      <a:pt x="7806" y="22"/>
                      <a:pt x="8080" y="37"/>
                      <a:pt x="8286" y="92"/>
                    </a:cubicBezTo>
                    <a:cubicBezTo>
                      <a:pt x="8492" y="147"/>
                      <a:pt x="8639" y="193"/>
                      <a:pt x="8779" y="339"/>
                    </a:cubicBezTo>
                    <a:cubicBezTo>
                      <a:pt x="8919" y="485"/>
                      <a:pt x="9051" y="708"/>
                      <a:pt x="9128" y="968"/>
                    </a:cubicBezTo>
                    <a:cubicBezTo>
                      <a:pt x="9205" y="1228"/>
                      <a:pt x="9242" y="1590"/>
                      <a:pt x="9242" y="1897"/>
                    </a:cubicBezTo>
                    <a:cubicBezTo>
                      <a:pt x="9242" y="2204"/>
                      <a:pt x="9209" y="2550"/>
                      <a:pt x="9131" y="2809"/>
                    </a:cubicBezTo>
                    <a:cubicBezTo>
                      <a:pt x="9053" y="3068"/>
                      <a:pt x="8921" y="3301"/>
                      <a:pt x="8773" y="3450"/>
                    </a:cubicBezTo>
                    <a:cubicBezTo>
                      <a:pt x="8625" y="3600"/>
                      <a:pt x="8464" y="3647"/>
                      <a:pt x="8242" y="3702"/>
                    </a:cubicBezTo>
                    <a:cubicBezTo>
                      <a:pt x="8020" y="3757"/>
                      <a:pt x="7704" y="3770"/>
                      <a:pt x="7442" y="3778"/>
                    </a:cubicBezTo>
                    <a:cubicBezTo>
                      <a:pt x="7180" y="3786"/>
                      <a:pt x="6955" y="3754"/>
                      <a:pt x="6670" y="3749"/>
                    </a:cubicBezTo>
                    <a:cubicBezTo>
                      <a:pt x="6385" y="3744"/>
                      <a:pt x="6252" y="3748"/>
                      <a:pt x="5732" y="3747"/>
                    </a:cubicBezTo>
                    <a:cubicBezTo>
                      <a:pt x="5212" y="3746"/>
                      <a:pt x="4052" y="3743"/>
                      <a:pt x="3552" y="3743"/>
                    </a:cubicBezTo>
                    <a:cubicBezTo>
                      <a:pt x="3052" y="3743"/>
                      <a:pt x="3013" y="3746"/>
                      <a:pt x="2732" y="3749"/>
                    </a:cubicBezTo>
                    <a:cubicBezTo>
                      <a:pt x="2451" y="3752"/>
                      <a:pt x="2158" y="3764"/>
                      <a:pt x="1864" y="3759"/>
                    </a:cubicBezTo>
                    <a:cubicBezTo>
                      <a:pt x="1570" y="3753"/>
                      <a:pt x="1180" y="3733"/>
                      <a:pt x="970" y="3715"/>
                    </a:cubicBezTo>
                    <a:cubicBezTo>
                      <a:pt x="760" y="3698"/>
                      <a:pt x="677" y="3667"/>
                      <a:pt x="602" y="3655"/>
                    </a:cubicBezTo>
                    <a:cubicBezTo>
                      <a:pt x="527" y="3642"/>
                      <a:pt x="536" y="3651"/>
                      <a:pt x="518" y="3641"/>
                    </a:cubicBezTo>
                    <a:lnTo>
                      <a:pt x="496" y="3597"/>
                    </a:lnTo>
                    <a:lnTo>
                      <a:pt x="454" y="3579"/>
                    </a:lnTo>
                    <a:lnTo>
                      <a:pt x="438" y="3573"/>
                    </a:lnTo>
                    <a:cubicBezTo>
                      <a:pt x="408" y="3548"/>
                      <a:pt x="327" y="3508"/>
                      <a:pt x="276" y="3425"/>
                    </a:cubicBezTo>
                    <a:cubicBezTo>
                      <a:pt x="225" y="3341"/>
                      <a:pt x="168" y="3207"/>
                      <a:pt x="130" y="3072"/>
                    </a:cubicBezTo>
                    <a:cubicBezTo>
                      <a:pt x="92" y="2936"/>
                      <a:pt x="68" y="2806"/>
                      <a:pt x="46" y="2612"/>
                    </a:cubicBezTo>
                    <a:cubicBezTo>
                      <a:pt x="24" y="2419"/>
                      <a:pt x="0" y="2153"/>
                      <a:pt x="0" y="1913"/>
                    </a:cubicBezTo>
                    <a:cubicBezTo>
                      <a:pt x="0" y="1672"/>
                      <a:pt x="22" y="1368"/>
                      <a:pt x="45" y="1168"/>
                    </a:cubicBezTo>
                    <a:cubicBezTo>
                      <a:pt x="68" y="968"/>
                      <a:pt x="98" y="849"/>
                      <a:pt x="136" y="713"/>
                    </a:cubicBezTo>
                    <a:cubicBezTo>
                      <a:pt x="174" y="576"/>
                      <a:pt x="225" y="435"/>
                      <a:pt x="276" y="351"/>
                    </a:cubicBezTo>
                    <a:cubicBezTo>
                      <a:pt x="327" y="266"/>
                      <a:pt x="444" y="208"/>
                      <a:pt x="444" y="208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4" name="Freeform 29"/>
              <p:cNvSpPr>
                <a:spLocks noChangeAspect="1"/>
              </p:cNvSpPr>
              <p:nvPr/>
            </p:nvSpPr>
            <p:spPr bwMode="auto">
              <a:xfrm>
                <a:off x="5552" y="1492"/>
                <a:ext cx="108" cy="895"/>
              </a:xfrm>
              <a:custGeom>
                <a:avLst/>
                <a:gdLst>
                  <a:gd name="T0" fmla="*/ 4913 w 93"/>
                  <a:gd name="T1" fmla="*/ 13861 h 768"/>
                  <a:gd name="T2" fmla="*/ 27626 w 93"/>
                  <a:gd name="T3" fmla="*/ 173375 h 768"/>
                  <a:gd name="T4" fmla="*/ 40773 w 93"/>
                  <a:gd name="T5" fmla="*/ 434267 h 768"/>
                  <a:gd name="T6" fmla="*/ 25451 w 93"/>
                  <a:gd name="T7" fmla="*/ 697175 h 768"/>
                  <a:gd name="T8" fmla="*/ 0 w 93"/>
                  <a:gd name="T9" fmla="*/ 863517 h 768"/>
                  <a:gd name="T10" fmla="*/ 5705 w 93"/>
                  <a:gd name="T11" fmla="*/ 868063 h 768"/>
                  <a:gd name="T12" fmla="*/ 31190 w 93"/>
                  <a:gd name="T13" fmla="*/ 869355 h 768"/>
                  <a:gd name="T14" fmla="*/ 60731 w 93"/>
                  <a:gd name="T15" fmla="*/ 829336 h 768"/>
                  <a:gd name="T16" fmla="*/ 63855 w 93"/>
                  <a:gd name="T17" fmla="*/ 818007 h 768"/>
                  <a:gd name="T18" fmla="*/ 83691 w 93"/>
                  <a:gd name="T19" fmla="*/ 652396 h 768"/>
                  <a:gd name="T20" fmla="*/ 89275 w 93"/>
                  <a:gd name="T21" fmla="*/ 436967 h 768"/>
                  <a:gd name="T22" fmla="*/ 81901 w 93"/>
                  <a:gd name="T23" fmla="*/ 212427 h 768"/>
                  <a:gd name="T24" fmla="*/ 61733 w 93"/>
                  <a:gd name="T25" fmla="*/ 34720 h 768"/>
                  <a:gd name="T26" fmla="*/ 53159 w 93"/>
                  <a:gd name="T27" fmla="*/ 25738 h 768"/>
                  <a:gd name="T28" fmla="*/ 26991 w 93"/>
                  <a:gd name="T29" fmla="*/ 3 h 768"/>
                  <a:gd name="T30" fmla="*/ 10376 w 93"/>
                  <a:gd name="T31" fmla="*/ 7515 h 768"/>
                  <a:gd name="T32" fmla="*/ 4913 w 93"/>
                  <a:gd name="T33" fmla="*/ 13861 h 76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"/>
                  <a:gd name="T52" fmla="*/ 0 h 768"/>
                  <a:gd name="T53" fmla="*/ 93 w 93"/>
                  <a:gd name="T54" fmla="*/ 768 h 76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" h="768">
                    <a:moveTo>
                      <a:pt x="5" y="12"/>
                    </a:moveTo>
                    <a:cubicBezTo>
                      <a:pt x="8" y="36"/>
                      <a:pt x="23" y="91"/>
                      <a:pt x="29" y="153"/>
                    </a:cubicBezTo>
                    <a:cubicBezTo>
                      <a:pt x="35" y="215"/>
                      <a:pt x="43" y="305"/>
                      <a:pt x="42" y="381"/>
                    </a:cubicBezTo>
                    <a:cubicBezTo>
                      <a:pt x="41" y="457"/>
                      <a:pt x="33" y="548"/>
                      <a:pt x="26" y="611"/>
                    </a:cubicBezTo>
                    <a:cubicBezTo>
                      <a:pt x="19" y="674"/>
                      <a:pt x="3" y="732"/>
                      <a:pt x="0" y="757"/>
                    </a:cubicBezTo>
                    <a:lnTo>
                      <a:pt x="6" y="761"/>
                    </a:lnTo>
                    <a:cubicBezTo>
                      <a:pt x="11" y="762"/>
                      <a:pt x="22" y="768"/>
                      <a:pt x="32" y="762"/>
                    </a:cubicBezTo>
                    <a:cubicBezTo>
                      <a:pt x="41" y="757"/>
                      <a:pt x="56" y="735"/>
                      <a:pt x="62" y="728"/>
                    </a:cubicBezTo>
                    <a:lnTo>
                      <a:pt x="66" y="717"/>
                    </a:lnTo>
                    <a:cubicBezTo>
                      <a:pt x="70" y="691"/>
                      <a:pt x="82" y="628"/>
                      <a:pt x="86" y="572"/>
                    </a:cubicBezTo>
                    <a:cubicBezTo>
                      <a:pt x="90" y="516"/>
                      <a:pt x="93" y="447"/>
                      <a:pt x="93" y="383"/>
                    </a:cubicBezTo>
                    <a:cubicBezTo>
                      <a:pt x="93" y="319"/>
                      <a:pt x="89" y="245"/>
                      <a:pt x="84" y="186"/>
                    </a:cubicBezTo>
                    <a:cubicBezTo>
                      <a:pt x="79" y="127"/>
                      <a:pt x="68" y="57"/>
                      <a:pt x="63" y="30"/>
                    </a:cubicBezTo>
                    <a:lnTo>
                      <a:pt x="54" y="23"/>
                    </a:lnTo>
                    <a:cubicBezTo>
                      <a:pt x="48" y="19"/>
                      <a:pt x="35" y="6"/>
                      <a:pt x="28" y="3"/>
                    </a:cubicBezTo>
                    <a:cubicBezTo>
                      <a:pt x="21" y="0"/>
                      <a:pt x="14" y="6"/>
                      <a:pt x="10" y="7"/>
                    </a:cubicBezTo>
                    <a:lnTo>
                      <a:pt x="5" y="12"/>
                    </a:ln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5" name="Freeform 30"/>
              <p:cNvSpPr>
                <a:spLocks noChangeAspect="1"/>
              </p:cNvSpPr>
              <p:nvPr/>
            </p:nvSpPr>
            <p:spPr bwMode="auto">
              <a:xfrm>
                <a:off x="223" y="1141"/>
                <a:ext cx="385" cy="1602"/>
              </a:xfrm>
              <a:custGeom>
                <a:avLst/>
                <a:gdLst>
                  <a:gd name="T0" fmla="*/ 1 w 647"/>
                  <a:gd name="T1" fmla="*/ 1 h 2749"/>
                  <a:gd name="T2" fmla="*/ 1 w 647"/>
                  <a:gd name="T3" fmla="*/ 1 h 2749"/>
                  <a:gd name="T4" fmla="*/ 1 w 647"/>
                  <a:gd name="T5" fmla="*/ 1 h 2749"/>
                  <a:gd name="T6" fmla="*/ 1 w 647"/>
                  <a:gd name="T7" fmla="*/ 1 h 2749"/>
                  <a:gd name="T8" fmla="*/ 1 w 647"/>
                  <a:gd name="T9" fmla="*/ 1 h 2749"/>
                  <a:gd name="T10" fmla="*/ 1 w 647"/>
                  <a:gd name="T11" fmla="*/ 1 h 2749"/>
                  <a:gd name="T12" fmla="*/ 0 w 647"/>
                  <a:gd name="T13" fmla="*/ 1 h 2749"/>
                  <a:gd name="T14" fmla="*/ 1 w 647"/>
                  <a:gd name="T15" fmla="*/ 1 h 2749"/>
                  <a:gd name="T16" fmla="*/ 1 w 647"/>
                  <a:gd name="T17" fmla="*/ 1 h 2749"/>
                  <a:gd name="T18" fmla="*/ 1 w 647"/>
                  <a:gd name="T19" fmla="*/ 1 h 2749"/>
                  <a:gd name="T20" fmla="*/ 1 w 647"/>
                  <a:gd name="T21" fmla="*/ 1 h 2749"/>
                  <a:gd name="T22" fmla="*/ 1 w 647"/>
                  <a:gd name="T23" fmla="*/ 1 h 2749"/>
                  <a:gd name="T24" fmla="*/ 1 w 647"/>
                  <a:gd name="T25" fmla="*/ 1 h 27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47"/>
                  <a:gd name="T40" fmla="*/ 0 h 2749"/>
                  <a:gd name="T41" fmla="*/ 647 w 647"/>
                  <a:gd name="T42" fmla="*/ 2749 h 274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47" h="2749">
                    <a:moveTo>
                      <a:pt x="628" y="2635"/>
                    </a:moveTo>
                    <a:cubicBezTo>
                      <a:pt x="624" y="2645"/>
                      <a:pt x="645" y="2678"/>
                      <a:pt x="604" y="2695"/>
                    </a:cubicBezTo>
                    <a:cubicBezTo>
                      <a:pt x="563" y="2712"/>
                      <a:pt x="443" y="2749"/>
                      <a:pt x="382" y="2738"/>
                    </a:cubicBezTo>
                    <a:cubicBezTo>
                      <a:pt x="321" y="2727"/>
                      <a:pt x="287" y="2697"/>
                      <a:pt x="240" y="2627"/>
                    </a:cubicBezTo>
                    <a:cubicBezTo>
                      <a:pt x="193" y="2557"/>
                      <a:pt x="134" y="2430"/>
                      <a:pt x="100" y="2319"/>
                    </a:cubicBezTo>
                    <a:cubicBezTo>
                      <a:pt x="66" y="2208"/>
                      <a:pt x="53" y="2119"/>
                      <a:pt x="36" y="1959"/>
                    </a:cubicBezTo>
                    <a:cubicBezTo>
                      <a:pt x="19" y="1799"/>
                      <a:pt x="0" y="1553"/>
                      <a:pt x="0" y="1359"/>
                    </a:cubicBezTo>
                    <a:cubicBezTo>
                      <a:pt x="0" y="1165"/>
                      <a:pt x="19" y="944"/>
                      <a:pt x="37" y="792"/>
                    </a:cubicBezTo>
                    <a:cubicBezTo>
                      <a:pt x="55" y="640"/>
                      <a:pt x="77" y="560"/>
                      <a:pt x="111" y="449"/>
                    </a:cubicBezTo>
                    <a:cubicBezTo>
                      <a:pt x="145" y="338"/>
                      <a:pt x="198" y="198"/>
                      <a:pt x="240" y="125"/>
                    </a:cubicBezTo>
                    <a:cubicBezTo>
                      <a:pt x="282" y="52"/>
                      <a:pt x="303" y="22"/>
                      <a:pt x="363" y="11"/>
                    </a:cubicBezTo>
                    <a:cubicBezTo>
                      <a:pt x="423" y="0"/>
                      <a:pt x="559" y="43"/>
                      <a:pt x="603" y="59"/>
                    </a:cubicBezTo>
                    <a:cubicBezTo>
                      <a:pt x="647" y="75"/>
                      <a:pt x="621" y="102"/>
                      <a:pt x="625" y="110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6" name="Freeform 31"/>
              <p:cNvSpPr>
                <a:spLocks noChangeAspect="1"/>
              </p:cNvSpPr>
              <p:nvPr/>
            </p:nvSpPr>
            <p:spPr bwMode="auto">
              <a:xfrm>
                <a:off x="448" y="1155"/>
                <a:ext cx="311" cy="1565"/>
              </a:xfrm>
              <a:custGeom>
                <a:avLst/>
                <a:gdLst>
                  <a:gd name="T0" fmla="*/ 1 w 523"/>
                  <a:gd name="T1" fmla="*/ 1 h 2682"/>
                  <a:gd name="T2" fmla="*/ 1 w 523"/>
                  <a:gd name="T3" fmla="*/ 1 h 2682"/>
                  <a:gd name="T4" fmla="*/ 1 w 523"/>
                  <a:gd name="T5" fmla="*/ 1 h 2682"/>
                  <a:gd name="T6" fmla="*/ 1 w 523"/>
                  <a:gd name="T7" fmla="*/ 1 h 2682"/>
                  <a:gd name="T8" fmla="*/ 1 w 523"/>
                  <a:gd name="T9" fmla="*/ 1 h 2682"/>
                  <a:gd name="T10" fmla="*/ 1 w 523"/>
                  <a:gd name="T11" fmla="*/ 1 h 2682"/>
                  <a:gd name="T12" fmla="*/ 1 w 523"/>
                  <a:gd name="T13" fmla="*/ 1 h 26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3"/>
                  <a:gd name="T22" fmla="*/ 0 h 2682"/>
                  <a:gd name="T23" fmla="*/ 523 w 523"/>
                  <a:gd name="T24" fmla="*/ 2682 h 26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3" h="2682">
                    <a:moveTo>
                      <a:pt x="523" y="2682"/>
                    </a:moveTo>
                    <a:cubicBezTo>
                      <a:pt x="469" y="2662"/>
                      <a:pt x="279" y="2669"/>
                      <a:pt x="197" y="2559"/>
                    </a:cubicBezTo>
                    <a:cubicBezTo>
                      <a:pt x="115" y="2449"/>
                      <a:pt x="66" y="2226"/>
                      <a:pt x="33" y="2023"/>
                    </a:cubicBezTo>
                    <a:cubicBezTo>
                      <a:pt x="0" y="1820"/>
                      <a:pt x="0" y="1567"/>
                      <a:pt x="1" y="1339"/>
                    </a:cubicBezTo>
                    <a:cubicBezTo>
                      <a:pt x="2" y="1111"/>
                      <a:pt x="4" y="860"/>
                      <a:pt x="41" y="655"/>
                    </a:cubicBezTo>
                    <a:cubicBezTo>
                      <a:pt x="78" y="450"/>
                      <a:pt x="145" y="214"/>
                      <a:pt x="225" y="107"/>
                    </a:cubicBezTo>
                    <a:cubicBezTo>
                      <a:pt x="305" y="0"/>
                      <a:pt x="461" y="32"/>
                      <a:pt x="523" y="12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7" name="Freeform 32"/>
              <p:cNvSpPr>
                <a:spLocks noChangeAspect="1"/>
              </p:cNvSpPr>
              <p:nvPr/>
            </p:nvSpPr>
            <p:spPr bwMode="auto">
              <a:xfrm>
                <a:off x="434" y="1007"/>
                <a:ext cx="332" cy="1861"/>
              </a:xfrm>
              <a:custGeom>
                <a:avLst/>
                <a:gdLst>
                  <a:gd name="T0" fmla="*/ 0 w 558"/>
                  <a:gd name="T1" fmla="*/ 1 h 3174"/>
                  <a:gd name="T2" fmla="*/ 1 w 558"/>
                  <a:gd name="T3" fmla="*/ 1 h 3174"/>
                  <a:gd name="T4" fmla="*/ 1 w 558"/>
                  <a:gd name="T5" fmla="*/ 1 h 3174"/>
                  <a:gd name="T6" fmla="*/ 1 w 558"/>
                  <a:gd name="T7" fmla="*/ 1 h 3174"/>
                  <a:gd name="T8" fmla="*/ 1 w 558"/>
                  <a:gd name="T9" fmla="*/ 1 h 3174"/>
                  <a:gd name="T10" fmla="*/ 1 w 558"/>
                  <a:gd name="T11" fmla="*/ 1 h 3174"/>
                  <a:gd name="T12" fmla="*/ 1 w 558"/>
                  <a:gd name="T13" fmla="*/ 1 h 3174"/>
                  <a:gd name="T14" fmla="*/ 1 w 558"/>
                  <a:gd name="T15" fmla="*/ 1 h 3174"/>
                  <a:gd name="T16" fmla="*/ 1 w 558"/>
                  <a:gd name="T17" fmla="*/ 1 h 3174"/>
                  <a:gd name="T18" fmla="*/ 1 w 558"/>
                  <a:gd name="T19" fmla="*/ 1 h 3174"/>
                  <a:gd name="T20" fmla="*/ 1 w 558"/>
                  <a:gd name="T21" fmla="*/ 1 h 3174"/>
                  <a:gd name="T22" fmla="*/ 1 w 558"/>
                  <a:gd name="T23" fmla="*/ 1 h 3174"/>
                  <a:gd name="T24" fmla="*/ 1 w 558"/>
                  <a:gd name="T25" fmla="*/ 1 h 3174"/>
                  <a:gd name="T26" fmla="*/ 1 w 558"/>
                  <a:gd name="T27" fmla="*/ 1 h 3174"/>
                  <a:gd name="T28" fmla="*/ 1 w 558"/>
                  <a:gd name="T29" fmla="*/ 0 h 317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8"/>
                  <a:gd name="T46" fmla="*/ 0 h 3174"/>
                  <a:gd name="T47" fmla="*/ 558 w 558"/>
                  <a:gd name="T48" fmla="*/ 3174 h 317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8" h="3174">
                    <a:moveTo>
                      <a:pt x="0" y="3174"/>
                    </a:moveTo>
                    <a:cubicBezTo>
                      <a:pt x="16" y="3160"/>
                      <a:pt x="41" y="3114"/>
                      <a:pt x="95" y="3090"/>
                    </a:cubicBezTo>
                    <a:cubicBezTo>
                      <a:pt x="149" y="3066"/>
                      <a:pt x="254" y="3050"/>
                      <a:pt x="326" y="3027"/>
                    </a:cubicBezTo>
                    <a:cubicBezTo>
                      <a:pt x="398" y="3004"/>
                      <a:pt x="491" y="2965"/>
                      <a:pt x="528" y="2949"/>
                    </a:cubicBezTo>
                    <a:lnTo>
                      <a:pt x="546" y="2932"/>
                    </a:lnTo>
                    <a:lnTo>
                      <a:pt x="555" y="2910"/>
                    </a:lnTo>
                    <a:cubicBezTo>
                      <a:pt x="552" y="2814"/>
                      <a:pt x="534" y="2575"/>
                      <a:pt x="525" y="2355"/>
                    </a:cubicBezTo>
                    <a:cubicBezTo>
                      <a:pt x="516" y="2135"/>
                      <a:pt x="505" y="1834"/>
                      <a:pt x="503" y="1591"/>
                    </a:cubicBezTo>
                    <a:cubicBezTo>
                      <a:pt x="501" y="1348"/>
                      <a:pt x="506" y="1114"/>
                      <a:pt x="515" y="897"/>
                    </a:cubicBezTo>
                    <a:cubicBezTo>
                      <a:pt x="524" y="680"/>
                      <a:pt x="552" y="394"/>
                      <a:pt x="558" y="289"/>
                    </a:cubicBezTo>
                    <a:lnTo>
                      <a:pt x="552" y="264"/>
                    </a:lnTo>
                    <a:lnTo>
                      <a:pt x="530" y="244"/>
                    </a:lnTo>
                    <a:cubicBezTo>
                      <a:pt x="494" y="227"/>
                      <a:pt x="411" y="188"/>
                      <a:pt x="338" y="162"/>
                    </a:cubicBezTo>
                    <a:cubicBezTo>
                      <a:pt x="265" y="136"/>
                      <a:pt x="149" y="113"/>
                      <a:pt x="93" y="86"/>
                    </a:cubicBezTo>
                    <a:cubicBezTo>
                      <a:pt x="37" y="59"/>
                      <a:pt x="21" y="18"/>
                      <a:pt x="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8" name="Freeform 33"/>
              <p:cNvSpPr>
                <a:spLocks noChangeAspect="1"/>
              </p:cNvSpPr>
              <p:nvPr/>
            </p:nvSpPr>
            <p:spPr bwMode="auto">
              <a:xfrm>
                <a:off x="5580" y="1493"/>
                <a:ext cx="51" cy="886"/>
              </a:xfrm>
              <a:custGeom>
                <a:avLst/>
                <a:gdLst>
                  <a:gd name="T0" fmla="*/ 2 w 44"/>
                  <a:gd name="T1" fmla="*/ 0 h 760"/>
                  <a:gd name="T2" fmla="*/ 24590 w 44"/>
                  <a:gd name="T3" fmla="*/ 155606 h 760"/>
                  <a:gd name="T4" fmla="*/ 39599 w 44"/>
                  <a:gd name="T5" fmla="*/ 423887 h 760"/>
                  <a:gd name="T6" fmla="*/ 27766 w 44"/>
                  <a:gd name="T7" fmla="*/ 670795 h 760"/>
                  <a:gd name="T8" fmla="*/ 0 w 44"/>
                  <a:gd name="T9" fmla="*/ 881816 h 7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760"/>
                  <a:gd name="T17" fmla="*/ 44 w 44"/>
                  <a:gd name="T18" fmla="*/ 760 h 7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760">
                    <a:moveTo>
                      <a:pt x="2" y="0"/>
                    </a:moveTo>
                    <a:cubicBezTo>
                      <a:pt x="6" y="22"/>
                      <a:pt x="21" y="74"/>
                      <a:pt x="28" y="135"/>
                    </a:cubicBezTo>
                    <a:cubicBezTo>
                      <a:pt x="35" y="196"/>
                      <a:pt x="44" y="291"/>
                      <a:pt x="44" y="365"/>
                    </a:cubicBezTo>
                    <a:cubicBezTo>
                      <a:pt x="44" y="439"/>
                      <a:pt x="37" y="512"/>
                      <a:pt x="30" y="578"/>
                    </a:cubicBezTo>
                    <a:cubicBezTo>
                      <a:pt x="23" y="644"/>
                      <a:pt x="6" y="722"/>
                      <a:pt x="0" y="76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9" name="Freeform 34"/>
              <p:cNvSpPr>
                <a:spLocks noChangeAspect="1"/>
              </p:cNvSpPr>
              <p:nvPr/>
            </p:nvSpPr>
            <p:spPr bwMode="auto">
              <a:xfrm>
                <a:off x="5603" y="1508"/>
                <a:ext cx="46" cy="857"/>
              </a:xfrm>
              <a:custGeom>
                <a:avLst/>
                <a:gdLst>
                  <a:gd name="T0" fmla="*/ 0 w 39"/>
                  <a:gd name="T1" fmla="*/ 0 h 735"/>
                  <a:gd name="T2" fmla="*/ 48143 w 39"/>
                  <a:gd name="T3" fmla="*/ 160952 h 735"/>
                  <a:gd name="T4" fmla="*/ 76892 w 39"/>
                  <a:gd name="T5" fmla="*/ 414481 h 735"/>
                  <a:gd name="T6" fmla="*/ 55271 w 39"/>
                  <a:gd name="T7" fmla="*/ 663207 h 735"/>
                  <a:gd name="T8" fmla="*/ 1 w 39"/>
                  <a:gd name="T9" fmla="*/ 858657 h 7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735"/>
                  <a:gd name="T17" fmla="*/ 39 w 39"/>
                  <a:gd name="T18" fmla="*/ 735 h 7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735">
                    <a:moveTo>
                      <a:pt x="0" y="0"/>
                    </a:moveTo>
                    <a:cubicBezTo>
                      <a:pt x="4" y="23"/>
                      <a:pt x="19" y="79"/>
                      <a:pt x="25" y="138"/>
                    </a:cubicBezTo>
                    <a:cubicBezTo>
                      <a:pt x="31" y="197"/>
                      <a:pt x="39" y="283"/>
                      <a:pt x="39" y="354"/>
                    </a:cubicBezTo>
                    <a:cubicBezTo>
                      <a:pt x="39" y="425"/>
                      <a:pt x="34" y="504"/>
                      <a:pt x="28" y="567"/>
                    </a:cubicBezTo>
                    <a:cubicBezTo>
                      <a:pt x="22" y="630"/>
                      <a:pt x="7" y="700"/>
                      <a:pt x="1" y="73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0" name="Freeform 35"/>
              <p:cNvSpPr>
                <a:spLocks noChangeAspect="1"/>
              </p:cNvSpPr>
              <p:nvPr/>
            </p:nvSpPr>
            <p:spPr bwMode="auto">
              <a:xfrm>
                <a:off x="3395" y="999"/>
                <a:ext cx="1116" cy="1884"/>
              </a:xfrm>
              <a:custGeom>
                <a:avLst/>
                <a:gdLst>
                  <a:gd name="T0" fmla="*/ 1 w 1875"/>
                  <a:gd name="T1" fmla="*/ 1 h 3187"/>
                  <a:gd name="T2" fmla="*/ 1 w 1875"/>
                  <a:gd name="T3" fmla="*/ 1 h 3187"/>
                  <a:gd name="T4" fmla="*/ 1 w 1875"/>
                  <a:gd name="T5" fmla="*/ 1 h 3187"/>
                  <a:gd name="T6" fmla="*/ 1 w 1875"/>
                  <a:gd name="T7" fmla="*/ 1 h 3187"/>
                  <a:gd name="T8" fmla="*/ 1 w 1875"/>
                  <a:gd name="T9" fmla="*/ 1 h 3187"/>
                  <a:gd name="T10" fmla="*/ 1 w 1875"/>
                  <a:gd name="T11" fmla="*/ 1 h 3187"/>
                  <a:gd name="T12" fmla="*/ 1 w 1875"/>
                  <a:gd name="T13" fmla="*/ 1 h 3187"/>
                  <a:gd name="T14" fmla="*/ 1 w 1875"/>
                  <a:gd name="T15" fmla="*/ 1 h 3187"/>
                  <a:gd name="T16" fmla="*/ 1 w 1875"/>
                  <a:gd name="T17" fmla="*/ 1 h 3187"/>
                  <a:gd name="T18" fmla="*/ 1 w 1875"/>
                  <a:gd name="T19" fmla="*/ 1 h 3187"/>
                  <a:gd name="T20" fmla="*/ 1 w 1875"/>
                  <a:gd name="T21" fmla="*/ 1 h 3187"/>
                  <a:gd name="T22" fmla="*/ 1 w 1875"/>
                  <a:gd name="T23" fmla="*/ 1 h 3187"/>
                  <a:gd name="T24" fmla="*/ 1 w 1875"/>
                  <a:gd name="T25" fmla="*/ 1 h 3187"/>
                  <a:gd name="T26" fmla="*/ 1 w 1875"/>
                  <a:gd name="T27" fmla="*/ 1 h 3187"/>
                  <a:gd name="T28" fmla="*/ 1 w 1875"/>
                  <a:gd name="T29" fmla="*/ 1 h 3187"/>
                  <a:gd name="T30" fmla="*/ 1 w 1875"/>
                  <a:gd name="T31" fmla="*/ 1 h 3187"/>
                  <a:gd name="T32" fmla="*/ 1 w 1875"/>
                  <a:gd name="T33" fmla="*/ 1 h 3187"/>
                  <a:gd name="T34" fmla="*/ 1 w 1875"/>
                  <a:gd name="T35" fmla="*/ 1 h 3187"/>
                  <a:gd name="T36" fmla="*/ 1 w 1875"/>
                  <a:gd name="T37" fmla="*/ 1 h 3187"/>
                  <a:gd name="T38" fmla="*/ 1 w 1875"/>
                  <a:gd name="T39" fmla="*/ 1 h 3187"/>
                  <a:gd name="T40" fmla="*/ 1 w 1875"/>
                  <a:gd name="T41" fmla="*/ 1 h 3187"/>
                  <a:gd name="T42" fmla="*/ 1 w 1875"/>
                  <a:gd name="T43" fmla="*/ 1 h 3187"/>
                  <a:gd name="T44" fmla="*/ 1 w 1875"/>
                  <a:gd name="T45" fmla="*/ 1 h 3187"/>
                  <a:gd name="T46" fmla="*/ 1 w 1875"/>
                  <a:gd name="T47" fmla="*/ 1 h 3187"/>
                  <a:gd name="T48" fmla="*/ 1 w 1875"/>
                  <a:gd name="T49" fmla="*/ 1 h 31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75"/>
                  <a:gd name="T76" fmla="*/ 0 h 3187"/>
                  <a:gd name="T77" fmla="*/ 1875 w 1875"/>
                  <a:gd name="T78" fmla="*/ 3187 h 31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75" h="3187">
                    <a:moveTo>
                      <a:pt x="157" y="1535"/>
                    </a:moveTo>
                    <a:cubicBezTo>
                      <a:pt x="160" y="1666"/>
                      <a:pt x="147" y="1762"/>
                      <a:pt x="138" y="1887"/>
                    </a:cubicBezTo>
                    <a:cubicBezTo>
                      <a:pt x="129" y="2012"/>
                      <a:pt x="116" y="2177"/>
                      <a:pt x="104" y="2285"/>
                    </a:cubicBezTo>
                    <a:cubicBezTo>
                      <a:pt x="92" y="2393"/>
                      <a:pt x="81" y="2443"/>
                      <a:pt x="64" y="2538"/>
                    </a:cubicBezTo>
                    <a:cubicBezTo>
                      <a:pt x="47" y="2633"/>
                      <a:pt x="2" y="2779"/>
                      <a:pt x="1" y="2853"/>
                    </a:cubicBezTo>
                    <a:cubicBezTo>
                      <a:pt x="0" y="2927"/>
                      <a:pt x="25" y="2954"/>
                      <a:pt x="60" y="2985"/>
                    </a:cubicBezTo>
                    <a:cubicBezTo>
                      <a:pt x="95" y="3016"/>
                      <a:pt x="124" y="3020"/>
                      <a:pt x="214" y="3041"/>
                    </a:cubicBezTo>
                    <a:cubicBezTo>
                      <a:pt x="304" y="3062"/>
                      <a:pt x="430" y="3087"/>
                      <a:pt x="603" y="3110"/>
                    </a:cubicBezTo>
                    <a:cubicBezTo>
                      <a:pt x="776" y="3133"/>
                      <a:pt x="1093" y="3187"/>
                      <a:pt x="1251" y="3180"/>
                    </a:cubicBezTo>
                    <a:cubicBezTo>
                      <a:pt x="1409" y="3173"/>
                      <a:pt x="1474" y="3147"/>
                      <a:pt x="1551" y="3066"/>
                    </a:cubicBezTo>
                    <a:cubicBezTo>
                      <a:pt x="1628" y="2985"/>
                      <a:pt x="1667" y="2847"/>
                      <a:pt x="1714" y="2693"/>
                    </a:cubicBezTo>
                    <a:cubicBezTo>
                      <a:pt x="1761" y="2539"/>
                      <a:pt x="1803" y="2329"/>
                      <a:pt x="1830" y="2144"/>
                    </a:cubicBezTo>
                    <a:cubicBezTo>
                      <a:pt x="1857" y="1959"/>
                      <a:pt x="1875" y="1772"/>
                      <a:pt x="1875" y="1580"/>
                    </a:cubicBezTo>
                    <a:cubicBezTo>
                      <a:pt x="1875" y="1388"/>
                      <a:pt x="1855" y="1165"/>
                      <a:pt x="1832" y="994"/>
                    </a:cubicBezTo>
                    <a:cubicBezTo>
                      <a:pt x="1809" y="823"/>
                      <a:pt x="1778" y="694"/>
                      <a:pt x="1736" y="553"/>
                    </a:cubicBezTo>
                    <a:cubicBezTo>
                      <a:pt x="1694" y="412"/>
                      <a:pt x="1653" y="236"/>
                      <a:pt x="1578" y="146"/>
                    </a:cubicBezTo>
                    <a:cubicBezTo>
                      <a:pt x="1503" y="56"/>
                      <a:pt x="1444" y="22"/>
                      <a:pt x="1284" y="11"/>
                    </a:cubicBezTo>
                    <a:cubicBezTo>
                      <a:pt x="1124" y="0"/>
                      <a:pt x="799" y="56"/>
                      <a:pt x="615" y="81"/>
                    </a:cubicBezTo>
                    <a:cubicBezTo>
                      <a:pt x="431" y="106"/>
                      <a:pt x="274" y="134"/>
                      <a:pt x="180" y="159"/>
                    </a:cubicBezTo>
                    <a:cubicBezTo>
                      <a:pt x="86" y="184"/>
                      <a:pt x="76" y="199"/>
                      <a:pt x="49" y="230"/>
                    </a:cubicBezTo>
                    <a:cubicBezTo>
                      <a:pt x="22" y="261"/>
                      <a:pt x="14" y="289"/>
                      <a:pt x="15" y="344"/>
                    </a:cubicBezTo>
                    <a:cubicBezTo>
                      <a:pt x="16" y="399"/>
                      <a:pt x="38" y="474"/>
                      <a:pt x="54" y="560"/>
                    </a:cubicBezTo>
                    <a:cubicBezTo>
                      <a:pt x="70" y="646"/>
                      <a:pt x="93" y="751"/>
                      <a:pt x="108" y="858"/>
                    </a:cubicBezTo>
                    <a:cubicBezTo>
                      <a:pt x="123" y="965"/>
                      <a:pt x="133" y="1092"/>
                      <a:pt x="141" y="1205"/>
                    </a:cubicBezTo>
                    <a:cubicBezTo>
                      <a:pt x="149" y="1318"/>
                      <a:pt x="154" y="1466"/>
                      <a:pt x="157" y="153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1" name="Freeform 36"/>
              <p:cNvSpPr>
                <a:spLocks noChangeAspect="1"/>
              </p:cNvSpPr>
              <p:nvPr/>
            </p:nvSpPr>
            <p:spPr bwMode="auto">
              <a:xfrm>
                <a:off x="204" y="1260"/>
                <a:ext cx="79" cy="1358"/>
              </a:xfrm>
              <a:custGeom>
                <a:avLst/>
                <a:gdLst>
                  <a:gd name="T0" fmla="*/ 1 w 132"/>
                  <a:gd name="T1" fmla="*/ 1 h 2324"/>
                  <a:gd name="T2" fmla="*/ 1 w 132"/>
                  <a:gd name="T3" fmla="*/ 1 h 2324"/>
                  <a:gd name="T4" fmla="*/ 0 w 132"/>
                  <a:gd name="T5" fmla="*/ 1 h 2324"/>
                  <a:gd name="T6" fmla="*/ 1 w 132"/>
                  <a:gd name="T7" fmla="*/ 1 h 2324"/>
                  <a:gd name="T8" fmla="*/ 1 w 132"/>
                  <a:gd name="T9" fmla="*/ 0 h 2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2324"/>
                  <a:gd name="T17" fmla="*/ 132 w 132"/>
                  <a:gd name="T18" fmla="*/ 2324 h 23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2324">
                    <a:moveTo>
                      <a:pt x="132" y="2324"/>
                    </a:moveTo>
                    <a:cubicBezTo>
                      <a:pt x="115" y="2233"/>
                      <a:pt x="54" y="1968"/>
                      <a:pt x="32" y="1776"/>
                    </a:cubicBezTo>
                    <a:cubicBezTo>
                      <a:pt x="10" y="1584"/>
                      <a:pt x="0" y="1381"/>
                      <a:pt x="0" y="1172"/>
                    </a:cubicBezTo>
                    <a:cubicBezTo>
                      <a:pt x="0" y="963"/>
                      <a:pt x="10" y="719"/>
                      <a:pt x="32" y="524"/>
                    </a:cubicBezTo>
                    <a:cubicBezTo>
                      <a:pt x="54" y="329"/>
                      <a:pt x="111" y="109"/>
                      <a:pt x="13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2" name="Freeform 37"/>
              <p:cNvSpPr>
                <a:spLocks noChangeAspect="1"/>
              </p:cNvSpPr>
              <p:nvPr/>
            </p:nvSpPr>
            <p:spPr bwMode="auto">
              <a:xfrm>
                <a:off x="454" y="1687"/>
                <a:ext cx="48" cy="502"/>
              </a:xfrm>
              <a:custGeom>
                <a:avLst/>
                <a:gdLst>
                  <a:gd name="T0" fmla="*/ 0 w 80"/>
                  <a:gd name="T1" fmla="*/ 1 h 876"/>
                  <a:gd name="T2" fmla="*/ 1 w 80"/>
                  <a:gd name="T3" fmla="*/ 1 h 876"/>
                  <a:gd name="T4" fmla="*/ 1 w 80"/>
                  <a:gd name="T5" fmla="*/ 1 h 876"/>
                  <a:gd name="T6" fmla="*/ 1 w 80"/>
                  <a:gd name="T7" fmla="*/ 0 h 8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876"/>
                  <a:gd name="T14" fmla="*/ 80 w 80"/>
                  <a:gd name="T15" fmla="*/ 876 h 8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876">
                    <a:moveTo>
                      <a:pt x="0" y="876"/>
                    </a:moveTo>
                    <a:lnTo>
                      <a:pt x="76" y="854"/>
                    </a:lnTo>
                    <a:lnTo>
                      <a:pt x="80" y="22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3" name="Freeform 38"/>
              <p:cNvSpPr>
                <a:spLocks noChangeAspect="1"/>
              </p:cNvSpPr>
              <p:nvPr/>
            </p:nvSpPr>
            <p:spPr bwMode="auto">
              <a:xfrm>
                <a:off x="756" y="240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4" name="Freeform 39"/>
              <p:cNvSpPr>
                <a:spLocks noChangeAspect="1"/>
              </p:cNvSpPr>
              <p:nvPr/>
            </p:nvSpPr>
            <p:spPr bwMode="auto">
              <a:xfrm>
                <a:off x="4411" y="2377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5" name="Freeform 40"/>
              <p:cNvSpPr>
                <a:spLocks noChangeAspect="1"/>
              </p:cNvSpPr>
              <p:nvPr/>
            </p:nvSpPr>
            <p:spPr bwMode="auto">
              <a:xfrm>
                <a:off x="4229" y="2868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6" name="Freeform 41"/>
              <p:cNvSpPr>
                <a:spLocks noChangeAspect="1"/>
              </p:cNvSpPr>
              <p:nvPr/>
            </p:nvSpPr>
            <p:spPr bwMode="auto">
              <a:xfrm>
                <a:off x="5001" y="2523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7" name="Freeform 42"/>
              <p:cNvSpPr>
                <a:spLocks noChangeAspect="1"/>
              </p:cNvSpPr>
              <p:nvPr/>
            </p:nvSpPr>
            <p:spPr bwMode="auto">
              <a:xfrm>
                <a:off x="4973" y="2379"/>
                <a:ext cx="617" cy="657"/>
              </a:xfrm>
              <a:custGeom>
                <a:avLst/>
                <a:gdLst>
                  <a:gd name="T0" fmla="*/ 1 w 1038"/>
                  <a:gd name="T1" fmla="*/ 0 h 1102"/>
                  <a:gd name="T2" fmla="*/ 1 w 1038"/>
                  <a:gd name="T3" fmla="*/ 1 h 1102"/>
                  <a:gd name="T4" fmla="*/ 1 w 1038"/>
                  <a:gd name="T5" fmla="*/ 1 h 1102"/>
                  <a:gd name="T6" fmla="*/ 1 w 1038"/>
                  <a:gd name="T7" fmla="*/ 1 h 1102"/>
                  <a:gd name="T8" fmla="*/ 1 w 1038"/>
                  <a:gd name="T9" fmla="*/ 1 h 1102"/>
                  <a:gd name="T10" fmla="*/ 0 w 1038"/>
                  <a:gd name="T11" fmla="*/ 1 h 110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8"/>
                  <a:gd name="T19" fmla="*/ 0 h 1102"/>
                  <a:gd name="T20" fmla="*/ 1038 w 1038"/>
                  <a:gd name="T21" fmla="*/ 1102 h 110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8" h="1102">
                    <a:moveTo>
                      <a:pt x="1038" y="0"/>
                    </a:moveTo>
                    <a:cubicBezTo>
                      <a:pt x="1020" y="60"/>
                      <a:pt x="978" y="245"/>
                      <a:pt x="931" y="360"/>
                    </a:cubicBezTo>
                    <a:cubicBezTo>
                      <a:pt x="884" y="475"/>
                      <a:pt x="813" y="604"/>
                      <a:pt x="754" y="690"/>
                    </a:cubicBezTo>
                    <a:cubicBezTo>
                      <a:pt x="695" y="776"/>
                      <a:pt x="650" y="822"/>
                      <a:pt x="577" y="876"/>
                    </a:cubicBezTo>
                    <a:cubicBezTo>
                      <a:pt x="504" y="930"/>
                      <a:pt x="412" y="979"/>
                      <a:pt x="316" y="1017"/>
                    </a:cubicBezTo>
                    <a:cubicBezTo>
                      <a:pt x="220" y="1055"/>
                      <a:pt x="66" y="1084"/>
                      <a:pt x="0" y="110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8" name="Freeform 43"/>
              <p:cNvSpPr>
                <a:spLocks noChangeAspect="1"/>
              </p:cNvSpPr>
              <p:nvPr/>
            </p:nvSpPr>
            <p:spPr bwMode="auto">
              <a:xfrm>
                <a:off x="5028" y="252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9" name="Freeform 44"/>
              <p:cNvSpPr>
                <a:spLocks noChangeAspect="1"/>
              </p:cNvSpPr>
              <p:nvPr/>
            </p:nvSpPr>
            <p:spPr bwMode="auto">
              <a:xfrm>
                <a:off x="3863" y="2477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0" name="Freeform 45"/>
              <p:cNvSpPr>
                <a:spLocks noChangeAspect="1"/>
              </p:cNvSpPr>
              <p:nvPr/>
            </p:nvSpPr>
            <p:spPr bwMode="auto">
              <a:xfrm>
                <a:off x="1505" y="2791"/>
                <a:ext cx="2561" cy="257"/>
              </a:xfrm>
              <a:custGeom>
                <a:avLst/>
                <a:gdLst>
                  <a:gd name="T0" fmla="*/ 1 w 4303"/>
                  <a:gd name="T1" fmla="*/ 1 h 432"/>
                  <a:gd name="T2" fmla="*/ 1 w 4303"/>
                  <a:gd name="T3" fmla="*/ 1 h 432"/>
                  <a:gd name="T4" fmla="*/ 1 w 4303"/>
                  <a:gd name="T5" fmla="*/ 1 h 432"/>
                  <a:gd name="T6" fmla="*/ 1 w 4303"/>
                  <a:gd name="T7" fmla="*/ 1 h 432"/>
                  <a:gd name="T8" fmla="*/ 1 w 4303"/>
                  <a:gd name="T9" fmla="*/ 1 h 432"/>
                  <a:gd name="T10" fmla="*/ 1 w 4303"/>
                  <a:gd name="T11" fmla="*/ 1 h 432"/>
                  <a:gd name="T12" fmla="*/ 1 w 4303"/>
                  <a:gd name="T13" fmla="*/ 1 h 432"/>
                  <a:gd name="T14" fmla="*/ 1 w 4303"/>
                  <a:gd name="T15" fmla="*/ 1 h 432"/>
                  <a:gd name="T16" fmla="*/ 1 w 4303"/>
                  <a:gd name="T17" fmla="*/ 0 h 432"/>
                  <a:gd name="T18" fmla="*/ 1 w 4303"/>
                  <a:gd name="T19" fmla="*/ 1 h 432"/>
                  <a:gd name="T20" fmla="*/ 1 w 4303"/>
                  <a:gd name="T21" fmla="*/ 1 h 432"/>
                  <a:gd name="T22" fmla="*/ 0 w 4303"/>
                  <a:gd name="T23" fmla="*/ 1 h 432"/>
                  <a:gd name="T24" fmla="*/ 1 w 4303"/>
                  <a:gd name="T25" fmla="*/ 1 h 432"/>
                  <a:gd name="T26" fmla="*/ 1 w 4303"/>
                  <a:gd name="T27" fmla="*/ 1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3"/>
                  <a:gd name="T43" fmla="*/ 0 h 432"/>
                  <a:gd name="T44" fmla="*/ 4303 w 4303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3" h="432">
                    <a:moveTo>
                      <a:pt x="4293" y="416"/>
                    </a:moveTo>
                    <a:cubicBezTo>
                      <a:pt x="4293" y="398"/>
                      <a:pt x="4303" y="338"/>
                      <a:pt x="4292" y="310"/>
                    </a:cubicBezTo>
                    <a:cubicBezTo>
                      <a:pt x="4281" y="282"/>
                      <a:pt x="4268" y="265"/>
                      <a:pt x="4229" y="249"/>
                    </a:cubicBezTo>
                    <a:cubicBezTo>
                      <a:pt x="4190" y="233"/>
                      <a:pt x="4211" y="241"/>
                      <a:pt x="4055" y="215"/>
                    </a:cubicBezTo>
                    <a:cubicBezTo>
                      <a:pt x="3899" y="189"/>
                      <a:pt x="3516" y="123"/>
                      <a:pt x="3291" y="90"/>
                    </a:cubicBezTo>
                    <a:cubicBezTo>
                      <a:pt x="3066" y="57"/>
                      <a:pt x="2919" y="32"/>
                      <a:pt x="2703" y="18"/>
                    </a:cubicBezTo>
                    <a:cubicBezTo>
                      <a:pt x="2487" y="4"/>
                      <a:pt x="2366" y="6"/>
                      <a:pt x="1993" y="3"/>
                    </a:cubicBezTo>
                    <a:cubicBezTo>
                      <a:pt x="1620" y="0"/>
                      <a:pt x="756" y="2"/>
                      <a:pt x="465" y="2"/>
                    </a:cubicBezTo>
                    <a:lnTo>
                      <a:pt x="245" y="0"/>
                    </a:lnTo>
                    <a:cubicBezTo>
                      <a:pt x="197" y="7"/>
                      <a:pt x="213" y="2"/>
                      <a:pt x="174" y="44"/>
                    </a:cubicBezTo>
                    <a:cubicBezTo>
                      <a:pt x="135" y="86"/>
                      <a:pt x="38" y="213"/>
                      <a:pt x="9" y="252"/>
                    </a:cubicBezTo>
                    <a:lnTo>
                      <a:pt x="0" y="281"/>
                    </a:lnTo>
                    <a:cubicBezTo>
                      <a:pt x="1" y="297"/>
                      <a:pt x="4" y="325"/>
                      <a:pt x="12" y="350"/>
                    </a:cubicBezTo>
                    <a:cubicBezTo>
                      <a:pt x="20" y="375"/>
                      <a:pt x="41" y="415"/>
                      <a:pt x="48" y="43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1" name="Freeform 46"/>
              <p:cNvSpPr>
                <a:spLocks noChangeAspect="1"/>
              </p:cNvSpPr>
              <p:nvPr/>
            </p:nvSpPr>
            <p:spPr bwMode="auto">
              <a:xfrm>
                <a:off x="3878" y="2898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2" name="Freeform 47"/>
              <p:cNvSpPr>
                <a:spLocks noChangeAspect="1"/>
              </p:cNvSpPr>
              <p:nvPr/>
            </p:nvSpPr>
            <p:spPr bwMode="auto">
              <a:xfrm>
                <a:off x="2812" y="2812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3" name="Freeform 48"/>
              <p:cNvSpPr>
                <a:spLocks noChangeAspect="1"/>
              </p:cNvSpPr>
              <p:nvPr/>
            </p:nvSpPr>
            <p:spPr bwMode="auto">
              <a:xfrm>
                <a:off x="2669" y="2778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4" name="Freeform 49"/>
              <p:cNvSpPr>
                <a:spLocks noChangeAspect="1"/>
              </p:cNvSpPr>
              <p:nvPr/>
            </p:nvSpPr>
            <p:spPr bwMode="auto">
              <a:xfrm>
                <a:off x="717" y="2965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5" name="Freeform 50"/>
              <p:cNvSpPr>
                <a:spLocks noChangeAspect="1"/>
              </p:cNvSpPr>
              <p:nvPr/>
            </p:nvSpPr>
            <p:spPr bwMode="auto">
              <a:xfrm>
                <a:off x="1812" y="281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6" name="Freeform 51"/>
              <p:cNvSpPr>
                <a:spLocks noChangeAspect="1"/>
              </p:cNvSpPr>
              <p:nvPr/>
            </p:nvSpPr>
            <p:spPr bwMode="auto">
              <a:xfrm>
                <a:off x="519" y="2823"/>
                <a:ext cx="1585" cy="145"/>
              </a:xfrm>
              <a:custGeom>
                <a:avLst/>
                <a:gdLst>
                  <a:gd name="T0" fmla="*/ 1 w 2662"/>
                  <a:gd name="T1" fmla="*/ 1 h 244"/>
                  <a:gd name="T2" fmla="*/ 1 w 2662"/>
                  <a:gd name="T3" fmla="*/ 1 h 244"/>
                  <a:gd name="T4" fmla="*/ 1 w 2662"/>
                  <a:gd name="T5" fmla="*/ 1 h 244"/>
                  <a:gd name="T6" fmla="*/ 1 w 2662"/>
                  <a:gd name="T7" fmla="*/ 1 h 244"/>
                  <a:gd name="T8" fmla="*/ 1 w 2662"/>
                  <a:gd name="T9" fmla="*/ 1 h 244"/>
                  <a:gd name="T10" fmla="*/ 0 w 2662"/>
                  <a:gd name="T11" fmla="*/ 0 h 2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62"/>
                  <a:gd name="T19" fmla="*/ 0 h 244"/>
                  <a:gd name="T20" fmla="*/ 2662 w 2662"/>
                  <a:gd name="T21" fmla="*/ 244 h 2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62" h="244">
                    <a:moveTo>
                      <a:pt x="2662" y="244"/>
                    </a:moveTo>
                    <a:cubicBezTo>
                      <a:pt x="2559" y="241"/>
                      <a:pt x="2314" y="231"/>
                      <a:pt x="2042" y="228"/>
                    </a:cubicBezTo>
                    <a:cubicBezTo>
                      <a:pt x="1770" y="225"/>
                      <a:pt x="1303" y="239"/>
                      <a:pt x="1028" y="224"/>
                    </a:cubicBezTo>
                    <a:cubicBezTo>
                      <a:pt x="753" y="209"/>
                      <a:pt x="541" y="162"/>
                      <a:pt x="392" y="136"/>
                    </a:cubicBezTo>
                    <a:cubicBezTo>
                      <a:pt x="243" y="110"/>
                      <a:pt x="197" y="93"/>
                      <a:pt x="132" y="70"/>
                    </a:cubicBezTo>
                    <a:cubicBezTo>
                      <a:pt x="67" y="47"/>
                      <a:pt x="27" y="15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7" name="Freeform 52"/>
              <p:cNvSpPr>
                <a:spLocks noChangeAspect="1"/>
              </p:cNvSpPr>
              <p:nvPr/>
            </p:nvSpPr>
            <p:spPr bwMode="auto">
              <a:xfrm>
                <a:off x="1635" y="2811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8" name="Freeform 53"/>
              <p:cNvSpPr>
                <a:spLocks noChangeAspect="1"/>
              </p:cNvSpPr>
              <p:nvPr/>
            </p:nvSpPr>
            <p:spPr bwMode="auto">
              <a:xfrm>
                <a:off x="793" y="2794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9" name="Freeform 54"/>
              <p:cNvSpPr>
                <a:spLocks noChangeAspect="1"/>
              </p:cNvSpPr>
              <p:nvPr/>
            </p:nvSpPr>
            <p:spPr bwMode="auto">
              <a:xfrm>
                <a:off x="281" y="2619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0" name="Freeform 55"/>
              <p:cNvSpPr>
                <a:spLocks noChangeAspect="1"/>
              </p:cNvSpPr>
              <p:nvPr/>
            </p:nvSpPr>
            <p:spPr bwMode="auto">
              <a:xfrm>
                <a:off x="415" y="2890"/>
                <a:ext cx="88" cy="31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1" name="Freeform 56"/>
              <p:cNvSpPr>
                <a:spLocks noChangeAspect="1"/>
              </p:cNvSpPr>
              <p:nvPr/>
            </p:nvSpPr>
            <p:spPr bwMode="auto">
              <a:xfrm>
                <a:off x="222" y="2513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2" name="Freeform 57"/>
              <p:cNvSpPr>
                <a:spLocks noChangeAspect="1"/>
              </p:cNvSpPr>
              <p:nvPr/>
            </p:nvSpPr>
            <p:spPr bwMode="auto">
              <a:xfrm>
                <a:off x="200" y="2361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3" name="Freeform 58"/>
              <p:cNvSpPr>
                <a:spLocks noChangeAspect="1"/>
              </p:cNvSpPr>
              <p:nvPr/>
            </p:nvSpPr>
            <p:spPr bwMode="auto">
              <a:xfrm flipV="1">
                <a:off x="756" y="94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4" name="Freeform 59"/>
              <p:cNvSpPr>
                <a:spLocks noChangeAspect="1"/>
              </p:cNvSpPr>
              <p:nvPr/>
            </p:nvSpPr>
            <p:spPr bwMode="auto">
              <a:xfrm flipV="1">
                <a:off x="4411" y="1015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5" name="Freeform 60"/>
              <p:cNvSpPr>
                <a:spLocks noChangeAspect="1"/>
              </p:cNvSpPr>
              <p:nvPr/>
            </p:nvSpPr>
            <p:spPr bwMode="auto">
              <a:xfrm flipV="1">
                <a:off x="4229" y="937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6" name="Freeform 61"/>
              <p:cNvSpPr>
                <a:spLocks noChangeAspect="1"/>
              </p:cNvSpPr>
              <p:nvPr/>
            </p:nvSpPr>
            <p:spPr bwMode="auto">
              <a:xfrm flipV="1">
                <a:off x="5001" y="884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7" name="Freeform 62"/>
              <p:cNvSpPr>
                <a:spLocks noChangeAspect="1"/>
              </p:cNvSpPr>
              <p:nvPr/>
            </p:nvSpPr>
            <p:spPr bwMode="auto">
              <a:xfrm>
                <a:off x="4973" y="845"/>
                <a:ext cx="616" cy="651"/>
              </a:xfrm>
              <a:custGeom>
                <a:avLst/>
                <a:gdLst>
                  <a:gd name="T0" fmla="*/ 581776 w 529"/>
                  <a:gd name="T1" fmla="*/ 669570 h 558"/>
                  <a:gd name="T2" fmla="*/ 523085 w 529"/>
                  <a:gd name="T3" fmla="*/ 455208 h 558"/>
                  <a:gd name="T4" fmla="*/ 423919 w 529"/>
                  <a:gd name="T5" fmla="*/ 252685 h 558"/>
                  <a:gd name="T6" fmla="*/ 325279 w 529"/>
                  <a:gd name="T7" fmla="*/ 137059 h 558"/>
                  <a:gd name="T8" fmla="*/ 177637 w 529"/>
                  <a:gd name="T9" fmla="*/ 50786 h 558"/>
                  <a:gd name="T10" fmla="*/ 0 w 529"/>
                  <a:gd name="T11" fmla="*/ 0 h 5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558"/>
                  <a:gd name="T20" fmla="*/ 529 w 529"/>
                  <a:gd name="T21" fmla="*/ 558 h 5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558">
                    <a:moveTo>
                      <a:pt x="529" y="558"/>
                    </a:moveTo>
                    <a:cubicBezTo>
                      <a:pt x="520" y="528"/>
                      <a:pt x="499" y="437"/>
                      <a:pt x="475" y="379"/>
                    </a:cubicBezTo>
                    <a:cubicBezTo>
                      <a:pt x="451" y="321"/>
                      <a:pt x="415" y="254"/>
                      <a:pt x="385" y="210"/>
                    </a:cubicBezTo>
                    <a:cubicBezTo>
                      <a:pt x="355" y="167"/>
                      <a:pt x="332" y="143"/>
                      <a:pt x="295" y="115"/>
                    </a:cubicBezTo>
                    <a:cubicBezTo>
                      <a:pt x="257" y="88"/>
                      <a:pt x="210" y="63"/>
                      <a:pt x="161" y="43"/>
                    </a:cubicBezTo>
                    <a:cubicBezTo>
                      <a:pt x="112" y="24"/>
                      <a:pt x="34" y="9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8" name="Freeform 63"/>
              <p:cNvSpPr>
                <a:spLocks noChangeAspect="1"/>
              </p:cNvSpPr>
              <p:nvPr/>
            </p:nvSpPr>
            <p:spPr bwMode="auto">
              <a:xfrm flipV="1">
                <a:off x="5028" y="88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9" name="Freeform 64"/>
              <p:cNvSpPr>
                <a:spLocks noChangeAspect="1"/>
              </p:cNvSpPr>
              <p:nvPr/>
            </p:nvSpPr>
            <p:spPr bwMode="auto">
              <a:xfrm flipV="1">
                <a:off x="3863" y="866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0" name="Freeform 65"/>
              <p:cNvSpPr>
                <a:spLocks noChangeAspect="1"/>
              </p:cNvSpPr>
              <p:nvPr/>
            </p:nvSpPr>
            <p:spPr bwMode="auto">
              <a:xfrm>
                <a:off x="1505" y="834"/>
                <a:ext cx="2559" cy="257"/>
              </a:xfrm>
              <a:custGeom>
                <a:avLst/>
                <a:gdLst>
                  <a:gd name="T0" fmla="*/ 1 w 4302"/>
                  <a:gd name="T1" fmla="*/ 1 h 432"/>
                  <a:gd name="T2" fmla="*/ 1 w 4302"/>
                  <a:gd name="T3" fmla="*/ 1 h 432"/>
                  <a:gd name="T4" fmla="*/ 1 w 4302"/>
                  <a:gd name="T5" fmla="*/ 1 h 432"/>
                  <a:gd name="T6" fmla="*/ 1 w 4302"/>
                  <a:gd name="T7" fmla="*/ 1 h 432"/>
                  <a:gd name="T8" fmla="*/ 1 w 4302"/>
                  <a:gd name="T9" fmla="*/ 1 h 432"/>
                  <a:gd name="T10" fmla="*/ 1 w 4302"/>
                  <a:gd name="T11" fmla="*/ 1 h 432"/>
                  <a:gd name="T12" fmla="*/ 1 w 4302"/>
                  <a:gd name="T13" fmla="*/ 1 h 432"/>
                  <a:gd name="T14" fmla="*/ 1 w 4302"/>
                  <a:gd name="T15" fmla="*/ 1 h 432"/>
                  <a:gd name="T16" fmla="*/ 1 w 4302"/>
                  <a:gd name="T17" fmla="*/ 1 h 432"/>
                  <a:gd name="T18" fmla="*/ 1 w 4302"/>
                  <a:gd name="T19" fmla="*/ 1 h 432"/>
                  <a:gd name="T20" fmla="*/ 1 w 4302"/>
                  <a:gd name="T21" fmla="*/ 1 h 432"/>
                  <a:gd name="T22" fmla="*/ 0 w 4302"/>
                  <a:gd name="T23" fmla="*/ 1 h 432"/>
                  <a:gd name="T24" fmla="*/ 1 w 4302"/>
                  <a:gd name="T25" fmla="*/ 1 h 432"/>
                  <a:gd name="T26" fmla="*/ 1 w 4302"/>
                  <a:gd name="T27" fmla="*/ 0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2"/>
                  <a:gd name="T43" fmla="*/ 0 h 432"/>
                  <a:gd name="T44" fmla="*/ 4302 w 4302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2" h="432">
                    <a:moveTo>
                      <a:pt x="4289" y="15"/>
                    </a:moveTo>
                    <a:cubicBezTo>
                      <a:pt x="4289" y="33"/>
                      <a:pt x="4302" y="94"/>
                      <a:pt x="4292" y="122"/>
                    </a:cubicBezTo>
                    <a:cubicBezTo>
                      <a:pt x="4282" y="150"/>
                      <a:pt x="4268" y="167"/>
                      <a:pt x="4229" y="183"/>
                    </a:cubicBezTo>
                    <a:cubicBezTo>
                      <a:pt x="4190" y="199"/>
                      <a:pt x="4211" y="191"/>
                      <a:pt x="4055" y="217"/>
                    </a:cubicBezTo>
                    <a:cubicBezTo>
                      <a:pt x="3899" y="243"/>
                      <a:pt x="3516" y="309"/>
                      <a:pt x="3291" y="342"/>
                    </a:cubicBezTo>
                    <a:cubicBezTo>
                      <a:pt x="3066" y="375"/>
                      <a:pt x="2919" y="400"/>
                      <a:pt x="2703" y="414"/>
                    </a:cubicBezTo>
                    <a:cubicBezTo>
                      <a:pt x="2487" y="428"/>
                      <a:pt x="2366" y="426"/>
                      <a:pt x="1993" y="429"/>
                    </a:cubicBezTo>
                    <a:cubicBezTo>
                      <a:pt x="1620" y="432"/>
                      <a:pt x="756" y="430"/>
                      <a:pt x="465" y="430"/>
                    </a:cubicBezTo>
                    <a:lnTo>
                      <a:pt x="245" y="432"/>
                    </a:lnTo>
                    <a:cubicBezTo>
                      <a:pt x="197" y="425"/>
                      <a:pt x="213" y="430"/>
                      <a:pt x="174" y="388"/>
                    </a:cubicBezTo>
                    <a:cubicBezTo>
                      <a:pt x="135" y="346"/>
                      <a:pt x="38" y="219"/>
                      <a:pt x="9" y="180"/>
                    </a:cubicBezTo>
                    <a:lnTo>
                      <a:pt x="0" y="151"/>
                    </a:lnTo>
                    <a:cubicBezTo>
                      <a:pt x="1" y="135"/>
                      <a:pt x="4" y="107"/>
                      <a:pt x="12" y="82"/>
                    </a:cubicBezTo>
                    <a:cubicBezTo>
                      <a:pt x="20" y="57"/>
                      <a:pt x="41" y="17"/>
                      <a:pt x="48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71" name="Freeform 66"/>
              <p:cNvSpPr>
                <a:spLocks noChangeAspect="1"/>
              </p:cNvSpPr>
              <p:nvPr/>
            </p:nvSpPr>
            <p:spPr bwMode="auto">
              <a:xfrm flipV="1">
                <a:off x="3878" y="910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2" name="Freeform 67"/>
              <p:cNvSpPr>
                <a:spLocks noChangeAspect="1"/>
              </p:cNvSpPr>
              <p:nvPr/>
            </p:nvSpPr>
            <p:spPr bwMode="auto">
              <a:xfrm flipV="1">
                <a:off x="2812" y="929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3" name="Freeform 68"/>
              <p:cNvSpPr>
                <a:spLocks noChangeAspect="1"/>
              </p:cNvSpPr>
              <p:nvPr/>
            </p:nvSpPr>
            <p:spPr bwMode="auto">
              <a:xfrm flipV="1">
                <a:off x="2669" y="843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4" name="Freeform 69"/>
              <p:cNvSpPr>
                <a:spLocks noChangeAspect="1"/>
              </p:cNvSpPr>
              <p:nvPr/>
            </p:nvSpPr>
            <p:spPr bwMode="auto">
              <a:xfrm flipV="1">
                <a:off x="717" y="860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5" name="Freeform 70"/>
              <p:cNvSpPr>
                <a:spLocks noChangeAspect="1"/>
              </p:cNvSpPr>
              <p:nvPr/>
            </p:nvSpPr>
            <p:spPr bwMode="auto">
              <a:xfrm flipV="1">
                <a:off x="1812" y="93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6" name="Freeform 71"/>
              <p:cNvSpPr>
                <a:spLocks noChangeAspect="1"/>
              </p:cNvSpPr>
              <p:nvPr/>
            </p:nvSpPr>
            <p:spPr bwMode="auto">
              <a:xfrm>
                <a:off x="511" y="914"/>
                <a:ext cx="1593" cy="153"/>
              </a:xfrm>
              <a:custGeom>
                <a:avLst/>
                <a:gdLst>
                  <a:gd name="T0" fmla="*/ 1 w 2676"/>
                  <a:gd name="T1" fmla="*/ 0 h 257"/>
                  <a:gd name="T2" fmla="*/ 1 w 2676"/>
                  <a:gd name="T3" fmla="*/ 1 h 257"/>
                  <a:gd name="T4" fmla="*/ 1 w 2676"/>
                  <a:gd name="T5" fmla="*/ 1 h 257"/>
                  <a:gd name="T6" fmla="*/ 1 w 2676"/>
                  <a:gd name="T7" fmla="*/ 1 h 257"/>
                  <a:gd name="T8" fmla="*/ 1 w 2676"/>
                  <a:gd name="T9" fmla="*/ 1 h 257"/>
                  <a:gd name="T10" fmla="*/ 0 w 2676"/>
                  <a:gd name="T11" fmla="*/ 1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76"/>
                  <a:gd name="T19" fmla="*/ 0 h 257"/>
                  <a:gd name="T20" fmla="*/ 2676 w 2676"/>
                  <a:gd name="T21" fmla="*/ 257 h 2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76" h="257">
                    <a:moveTo>
                      <a:pt x="2676" y="0"/>
                    </a:moveTo>
                    <a:cubicBezTo>
                      <a:pt x="2573" y="3"/>
                      <a:pt x="2328" y="13"/>
                      <a:pt x="2056" y="16"/>
                    </a:cubicBezTo>
                    <a:cubicBezTo>
                      <a:pt x="1784" y="19"/>
                      <a:pt x="1317" y="5"/>
                      <a:pt x="1042" y="20"/>
                    </a:cubicBezTo>
                    <a:cubicBezTo>
                      <a:pt x="767" y="35"/>
                      <a:pt x="555" y="82"/>
                      <a:pt x="406" y="108"/>
                    </a:cubicBezTo>
                    <a:cubicBezTo>
                      <a:pt x="257" y="134"/>
                      <a:pt x="214" y="149"/>
                      <a:pt x="146" y="174"/>
                    </a:cubicBezTo>
                    <a:cubicBezTo>
                      <a:pt x="78" y="199"/>
                      <a:pt x="30" y="240"/>
                      <a:pt x="0" y="25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77" name="Freeform 72"/>
              <p:cNvSpPr>
                <a:spLocks noChangeAspect="1"/>
              </p:cNvSpPr>
              <p:nvPr/>
            </p:nvSpPr>
            <p:spPr bwMode="auto">
              <a:xfrm flipV="1">
                <a:off x="1635" y="942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8" name="Freeform 73"/>
              <p:cNvSpPr>
                <a:spLocks noChangeAspect="1"/>
              </p:cNvSpPr>
              <p:nvPr/>
            </p:nvSpPr>
            <p:spPr bwMode="auto">
              <a:xfrm flipV="1">
                <a:off x="793" y="941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9" name="Freeform 74"/>
              <p:cNvSpPr>
                <a:spLocks noChangeAspect="1"/>
              </p:cNvSpPr>
              <p:nvPr/>
            </p:nvSpPr>
            <p:spPr bwMode="auto">
              <a:xfrm flipV="1">
                <a:off x="283" y="852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0" name="Freeform 75"/>
              <p:cNvSpPr>
                <a:spLocks noChangeAspect="1"/>
              </p:cNvSpPr>
              <p:nvPr/>
            </p:nvSpPr>
            <p:spPr bwMode="auto">
              <a:xfrm flipV="1">
                <a:off x="415" y="957"/>
                <a:ext cx="88" cy="30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1" name="Freeform 76"/>
              <p:cNvSpPr>
                <a:spLocks noChangeAspect="1"/>
              </p:cNvSpPr>
              <p:nvPr/>
            </p:nvSpPr>
            <p:spPr bwMode="auto">
              <a:xfrm flipV="1">
                <a:off x="222" y="1279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2" name="Freeform 77"/>
              <p:cNvSpPr>
                <a:spLocks noChangeAspect="1"/>
              </p:cNvSpPr>
              <p:nvPr/>
            </p:nvSpPr>
            <p:spPr bwMode="auto">
              <a:xfrm flipV="1">
                <a:off x="200" y="1328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3" name="Freeform 78"/>
              <p:cNvSpPr>
                <a:spLocks noChangeAspect="1"/>
              </p:cNvSpPr>
              <p:nvPr/>
            </p:nvSpPr>
            <p:spPr bwMode="auto">
              <a:xfrm>
                <a:off x="3607" y="3015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4" name="Freeform 79"/>
              <p:cNvSpPr>
                <a:spLocks noChangeAspect="1"/>
              </p:cNvSpPr>
              <p:nvPr/>
            </p:nvSpPr>
            <p:spPr bwMode="auto">
              <a:xfrm>
                <a:off x="3681" y="2955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5" name="Freeform 80"/>
              <p:cNvSpPr>
                <a:spLocks noChangeAspect="1"/>
              </p:cNvSpPr>
              <p:nvPr/>
            </p:nvSpPr>
            <p:spPr bwMode="auto">
              <a:xfrm>
                <a:off x="3621" y="2965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6" name="Freeform 81"/>
              <p:cNvSpPr>
                <a:spLocks noChangeAspect="1"/>
              </p:cNvSpPr>
              <p:nvPr/>
            </p:nvSpPr>
            <p:spPr bwMode="auto">
              <a:xfrm>
                <a:off x="3754" y="2990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7" name="Freeform 82"/>
              <p:cNvSpPr>
                <a:spLocks noChangeAspect="1"/>
              </p:cNvSpPr>
              <p:nvPr/>
            </p:nvSpPr>
            <p:spPr bwMode="auto">
              <a:xfrm>
                <a:off x="3699" y="2899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8" name="Freeform 83"/>
              <p:cNvSpPr>
                <a:spLocks noChangeAspect="1"/>
              </p:cNvSpPr>
              <p:nvPr/>
            </p:nvSpPr>
            <p:spPr bwMode="auto">
              <a:xfrm flipV="1">
                <a:off x="3607" y="619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9" name="Freeform 84"/>
              <p:cNvSpPr>
                <a:spLocks noChangeAspect="1"/>
              </p:cNvSpPr>
              <p:nvPr/>
            </p:nvSpPr>
            <p:spPr bwMode="auto">
              <a:xfrm flipV="1">
                <a:off x="3681" y="627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0" name="Freeform 85"/>
              <p:cNvSpPr>
                <a:spLocks noChangeAspect="1"/>
              </p:cNvSpPr>
              <p:nvPr/>
            </p:nvSpPr>
            <p:spPr bwMode="auto">
              <a:xfrm flipV="1">
                <a:off x="3621" y="632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1" name="Freeform 86"/>
              <p:cNvSpPr>
                <a:spLocks noChangeAspect="1"/>
              </p:cNvSpPr>
              <p:nvPr/>
            </p:nvSpPr>
            <p:spPr bwMode="auto">
              <a:xfrm flipV="1">
                <a:off x="3754" y="884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2" name="Freeform 87"/>
              <p:cNvSpPr>
                <a:spLocks noChangeAspect="1"/>
              </p:cNvSpPr>
              <p:nvPr/>
            </p:nvSpPr>
            <p:spPr bwMode="auto">
              <a:xfrm flipV="1">
                <a:off x="3699" y="914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3" name="Freeform 88"/>
              <p:cNvSpPr>
                <a:spLocks noChangeAspect="1"/>
              </p:cNvSpPr>
              <p:nvPr/>
            </p:nvSpPr>
            <p:spPr bwMode="auto">
              <a:xfrm>
                <a:off x="2897" y="2648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4" name="Freeform 89"/>
              <p:cNvSpPr>
                <a:spLocks noChangeAspect="1"/>
              </p:cNvSpPr>
              <p:nvPr/>
            </p:nvSpPr>
            <p:spPr bwMode="auto">
              <a:xfrm>
                <a:off x="2903" y="2564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5" name="Freeform 90"/>
              <p:cNvSpPr>
                <a:spLocks noChangeAspect="1"/>
              </p:cNvSpPr>
              <p:nvPr/>
            </p:nvSpPr>
            <p:spPr bwMode="auto">
              <a:xfrm>
                <a:off x="2862" y="2551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6" name="Freeform 91"/>
              <p:cNvSpPr>
                <a:spLocks noChangeAspect="1"/>
              </p:cNvSpPr>
              <p:nvPr/>
            </p:nvSpPr>
            <p:spPr bwMode="auto">
              <a:xfrm>
                <a:off x="2869" y="2548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7" name="Freeform 92"/>
              <p:cNvSpPr>
                <a:spLocks noChangeAspect="1"/>
              </p:cNvSpPr>
              <p:nvPr/>
            </p:nvSpPr>
            <p:spPr bwMode="auto">
              <a:xfrm>
                <a:off x="2867" y="2679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8" name="Freeform 93"/>
              <p:cNvSpPr>
                <a:spLocks noChangeAspect="1"/>
              </p:cNvSpPr>
              <p:nvPr/>
            </p:nvSpPr>
            <p:spPr bwMode="auto">
              <a:xfrm>
                <a:off x="760" y="2645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9" name="Freeform 94"/>
              <p:cNvSpPr>
                <a:spLocks noChangeAspect="1"/>
              </p:cNvSpPr>
              <p:nvPr/>
            </p:nvSpPr>
            <p:spPr bwMode="auto">
              <a:xfrm>
                <a:off x="759" y="2556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0" name="Freeform 95"/>
              <p:cNvSpPr>
                <a:spLocks noChangeAspect="1"/>
              </p:cNvSpPr>
              <p:nvPr/>
            </p:nvSpPr>
            <p:spPr bwMode="auto">
              <a:xfrm>
                <a:off x="760" y="2567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1" name="Freeform 96"/>
              <p:cNvSpPr>
                <a:spLocks noChangeAspect="1"/>
              </p:cNvSpPr>
              <p:nvPr/>
            </p:nvSpPr>
            <p:spPr bwMode="auto">
              <a:xfrm>
                <a:off x="760" y="2624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2" name="Freeform 97"/>
              <p:cNvSpPr>
                <a:spLocks noChangeAspect="1"/>
              </p:cNvSpPr>
              <p:nvPr/>
            </p:nvSpPr>
            <p:spPr bwMode="auto">
              <a:xfrm>
                <a:off x="996" y="2557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3" name="Line 98"/>
              <p:cNvSpPr>
                <a:spLocks noChangeAspect="1" noChangeShapeType="1"/>
              </p:cNvSpPr>
              <p:nvPr/>
            </p:nvSpPr>
            <p:spPr bwMode="auto">
              <a:xfrm>
                <a:off x="1000" y="2586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4" name="Line 99"/>
              <p:cNvSpPr>
                <a:spLocks noChangeAspect="1" noChangeShapeType="1"/>
              </p:cNvSpPr>
              <p:nvPr/>
            </p:nvSpPr>
            <p:spPr bwMode="auto">
              <a:xfrm>
                <a:off x="999" y="2618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5" name="Line 100"/>
              <p:cNvSpPr>
                <a:spLocks noChangeAspect="1" noChangeShapeType="1"/>
              </p:cNvSpPr>
              <p:nvPr/>
            </p:nvSpPr>
            <p:spPr bwMode="auto">
              <a:xfrm>
                <a:off x="1011" y="2633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6" name="Line 101"/>
              <p:cNvSpPr>
                <a:spLocks noChangeAspect="1" noChangeShapeType="1"/>
              </p:cNvSpPr>
              <p:nvPr/>
            </p:nvSpPr>
            <p:spPr bwMode="auto">
              <a:xfrm>
                <a:off x="1019" y="2572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7" name="Freeform 102"/>
              <p:cNvSpPr>
                <a:spLocks noChangeAspect="1"/>
              </p:cNvSpPr>
              <p:nvPr/>
            </p:nvSpPr>
            <p:spPr bwMode="auto">
              <a:xfrm flipV="1">
                <a:off x="2897" y="1196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08" name="Freeform 103"/>
              <p:cNvSpPr>
                <a:spLocks noChangeAspect="1"/>
              </p:cNvSpPr>
              <p:nvPr/>
            </p:nvSpPr>
            <p:spPr bwMode="auto">
              <a:xfrm flipV="1">
                <a:off x="2903" y="1289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09" name="Freeform 104"/>
              <p:cNvSpPr>
                <a:spLocks noChangeAspect="1"/>
              </p:cNvSpPr>
              <p:nvPr/>
            </p:nvSpPr>
            <p:spPr bwMode="auto">
              <a:xfrm flipV="1">
                <a:off x="2862" y="1206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0" name="Freeform 105"/>
              <p:cNvSpPr>
                <a:spLocks noChangeAspect="1"/>
              </p:cNvSpPr>
              <p:nvPr/>
            </p:nvSpPr>
            <p:spPr bwMode="auto">
              <a:xfrm flipV="1">
                <a:off x="2869" y="1320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1" name="Freeform 106"/>
              <p:cNvSpPr>
                <a:spLocks noChangeAspect="1"/>
              </p:cNvSpPr>
              <p:nvPr/>
            </p:nvSpPr>
            <p:spPr bwMode="auto">
              <a:xfrm flipV="1">
                <a:off x="2867" y="1197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2" name="Freeform 107"/>
              <p:cNvSpPr>
                <a:spLocks noChangeAspect="1"/>
              </p:cNvSpPr>
              <p:nvPr/>
            </p:nvSpPr>
            <p:spPr bwMode="auto">
              <a:xfrm flipV="1">
                <a:off x="760" y="1230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3" name="Freeform 108"/>
              <p:cNvSpPr>
                <a:spLocks noChangeAspect="1"/>
              </p:cNvSpPr>
              <p:nvPr/>
            </p:nvSpPr>
            <p:spPr bwMode="auto">
              <a:xfrm flipV="1">
                <a:off x="759" y="1317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4" name="Freeform 109"/>
              <p:cNvSpPr>
                <a:spLocks noChangeAspect="1"/>
              </p:cNvSpPr>
              <p:nvPr/>
            </p:nvSpPr>
            <p:spPr bwMode="auto">
              <a:xfrm flipV="1">
                <a:off x="760" y="1302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5" name="Freeform 110"/>
              <p:cNvSpPr>
                <a:spLocks noChangeAspect="1"/>
              </p:cNvSpPr>
              <p:nvPr/>
            </p:nvSpPr>
            <p:spPr bwMode="auto">
              <a:xfrm flipV="1">
                <a:off x="760" y="1240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6" name="Freeform 111"/>
              <p:cNvSpPr>
                <a:spLocks noChangeAspect="1"/>
              </p:cNvSpPr>
              <p:nvPr/>
            </p:nvSpPr>
            <p:spPr bwMode="auto">
              <a:xfrm flipV="1">
                <a:off x="996" y="1230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7" name="Line 112"/>
              <p:cNvSpPr>
                <a:spLocks noChangeAspect="1" noChangeShapeType="1"/>
              </p:cNvSpPr>
              <p:nvPr/>
            </p:nvSpPr>
            <p:spPr bwMode="auto">
              <a:xfrm flipV="1">
                <a:off x="1000" y="1291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18" name="Line 113"/>
              <p:cNvSpPr>
                <a:spLocks noChangeAspect="1" noChangeShapeType="1"/>
              </p:cNvSpPr>
              <p:nvPr/>
            </p:nvSpPr>
            <p:spPr bwMode="auto">
              <a:xfrm flipV="1">
                <a:off x="999" y="1259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19" name="Line 114"/>
              <p:cNvSpPr>
                <a:spLocks noChangeAspect="1" noChangeShapeType="1"/>
              </p:cNvSpPr>
              <p:nvPr/>
            </p:nvSpPr>
            <p:spPr bwMode="auto">
              <a:xfrm flipV="1">
                <a:off x="1011" y="1244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0" name="Line 115"/>
              <p:cNvSpPr>
                <a:spLocks noChangeAspect="1" noChangeShapeType="1"/>
              </p:cNvSpPr>
              <p:nvPr/>
            </p:nvSpPr>
            <p:spPr bwMode="auto">
              <a:xfrm flipV="1">
                <a:off x="1019" y="1305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1" name="Freeform 116"/>
              <p:cNvSpPr>
                <a:spLocks noChangeAspect="1"/>
              </p:cNvSpPr>
              <p:nvPr/>
            </p:nvSpPr>
            <p:spPr bwMode="auto">
              <a:xfrm>
                <a:off x="774" y="1937"/>
                <a:ext cx="205" cy="23"/>
              </a:xfrm>
              <a:custGeom>
                <a:avLst/>
                <a:gdLst>
                  <a:gd name="T0" fmla="*/ 1 w 329"/>
                  <a:gd name="T1" fmla="*/ 1 h 37"/>
                  <a:gd name="T2" fmla="*/ 1 w 329"/>
                  <a:gd name="T3" fmla="*/ 1 h 37"/>
                  <a:gd name="T4" fmla="*/ 1 w 329"/>
                  <a:gd name="T5" fmla="*/ 1 h 37"/>
                  <a:gd name="T6" fmla="*/ 1 w 329"/>
                  <a:gd name="T7" fmla="*/ 1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9"/>
                  <a:gd name="T13" fmla="*/ 0 h 37"/>
                  <a:gd name="T14" fmla="*/ 329 w 329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9" h="37">
                    <a:moveTo>
                      <a:pt x="329" y="35"/>
                    </a:moveTo>
                    <a:cubicBezTo>
                      <a:pt x="282" y="35"/>
                      <a:pt x="94" y="37"/>
                      <a:pt x="47" y="32"/>
                    </a:cubicBezTo>
                    <a:cubicBezTo>
                      <a:pt x="0" y="27"/>
                      <a:pt x="0" y="10"/>
                      <a:pt x="47" y="5"/>
                    </a:cubicBezTo>
                    <a:cubicBezTo>
                      <a:pt x="94" y="0"/>
                      <a:pt x="270" y="3"/>
                      <a:pt x="328" y="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2" name="Freeform 117"/>
              <p:cNvSpPr>
                <a:spLocks noChangeAspect="1"/>
              </p:cNvSpPr>
              <p:nvPr/>
            </p:nvSpPr>
            <p:spPr bwMode="auto">
              <a:xfrm>
                <a:off x="966" y="1904"/>
                <a:ext cx="98" cy="86"/>
              </a:xfrm>
              <a:custGeom>
                <a:avLst/>
                <a:gdLst>
                  <a:gd name="T0" fmla="*/ 0 w 157"/>
                  <a:gd name="T1" fmla="*/ 1 h 137"/>
                  <a:gd name="T2" fmla="*/ 1 w 157"/>
                  <a:gd name="T3" fmla="*/ 1 h 137"/>
                  <a:gd name="T4" fmla="*/ 1 w 157"/>
                  <a:gd name="T5" fmla="*/ 1 h 137"/>
                  <a:gd name="T6" fmla="*/ 1 w 157"/>
                  <a:gd name="T7" fmla="*/ 1 h 137"/>
                  <a:gd name="T8" fmla="*/ 1 w 157"/>
                  <a:gd name="T9" fmla="*/ 1 h 137"/>
                  <a:gd name="T10" fmla="*/ 1 w 157"/>
                  <a:gd name="T11" fmla="*/ 1 h 137"/>
                  <a:gd name="T12" fmla="*/ 1 w 157"/>
                  <a:gd name="T13" fmla="*/ 1 h 137"/>
                  <a:gd name="T14" fmla="*/ 1 w 157"/>
                  <a:gd name="T15" fmla="*/ 1 h 137"/>
                  <a:gd name="T16" fmla="*/ 1 w 157"/>
                  <a:gd name="T17" fmla="*/ 1 h 137"/>
                  <a:gd name="T18" fmla="*/ 0 w 157"/>
                  <a:gd name="T19" fmla="*/ 1 h 1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7"/>
                  <a:gd name="T31" fmla="*/ 0 h 137"/>
                  <a:gd name="T32" fmla="*/ 157 w 157"/>
                  <a:gd name="T33" fmla="*/ 137 h 1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7" h="137">
                    <a:moveTo>
                      <a:pt x="0" y="90"/>
                    </a:moveTo>
                    <a:cubicBezTo>
                      <a:pt x="2" y="93"/>
                      <a:pt x="5" y="102"/>
                      <a:pt x="11" y="107"/>
                    </a:cubicBezTo>
                    <a:cubicBezTo>
                      <a:pt x="17" y="112"/>
                      <a:pt x="31" y="114"/>
                      <a:pt x="39" y="119"/>
                    </a:cubicBezTo>
                    <a:cubicBezTo>
                      <a:pt x="47" y="124"/>
                      <a:pt x="41" y="137"/>
                      <a:pt x="57" y="135"/>
                    </a:cubicBezTo>
                    <a:cubicBezTo>
                      <a:pt x="73" y="133"/>
                      <a:pt x="124" y="121"/>
                      <a:pt x="138" y="105"/>
                    </a:cubicBezTo>
                    <a:cubicBezTo>
                      <a:pt x="152" y="89"/>
                      <a:pt x="157" y="58"/>
                      <a:pt x="143" y="41"/>
                    </a:cubicBezTo>
                    <a:cubicBezTo>
                      <a:pt x="129" y="24"/>
                      <a:pt x="74" y="6"/>
                      <a:pt x="56" y="3"/>
                    </a:cubicBezTo>
                    <a:cubicBezTo>
                      <a:pt x="38" y="0"/>
                      <a:pt x="42" y="17"/>
                      <a:pt x="35" y="23"/>
                    </a:cubicBezTo>
                    <a:cubicBezTo>
                      <a:pt x="28" y="29"/>
                      <a:pt x="17" y="33"/>
                      <a:pt x="11" y="38"/>
                    </a:cubicBezTo>
                    <a:cubicBezTo>
                      <a:pt x="5" y="43"/>
                      <a:pt x="2" y="51"/>
                      <a:pt x="0" y="5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3" name="Line 118"/>
              <p:cNvSpPr>
                <a:spLocks noChangeAspect="1" noChangeShapeType="1"/>
              </p:cNvSpPr>
              <p:nvPr/>
            </p:nvSpPr>
            <p:spPr bwMode="auto">
              <a:xfrm>
                <a:off x="981" y="1937"/>
                <a:ext cx="0" cy="21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4" name="Freeform 119"/>
              <p:cNvSpPr>
                <a:spLocks noChangeAspect="1"/>
              </p:cNvSpPr>
              <p:nvPr/>
            </p:nvSpPr>
            <p:spPr bwMode="auto">
              <a:xfrm>
                <a:off x="984" y="1915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5" name="Freeform 120"/>
              <p:cNvSpPr>
                <a:spLocks noChangeAspect="1"/>
              </p:cNvSpPr>
              <p:nvPr/>
            </p:nvSpPr>
            <p:spPr bwMode="auto">
              <a:xfrm flipV="1">
                <a:off x="984" y="1958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26" name="Freeform 121"/>
              <p:cNvSpPr>
                <a:spLocks noChangeAspect="1"/>
              </p:cNvSpPr>
              <p:nvPr/>
            </p:nvSpPr>
            <p:spPr bwMode="auto">
              <a:xfrm>
                <a:off x="94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7" name="Freeform 122"/>
              <p:cNvSpPr>
                <a:spLocks noChangeAspect="1"/>
              </p:cNvSpPr>
              <p:nvPr/>
            </p:nvSpPr>
            <p:spPr bwMode="auto">
              <a:xfrm>
                <a:off x="91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8" name="Freeform 123"/>
              <p:cNvSpPr>
                <a:spLocks noChangeAspect="1"/>
              </p:cNvSpPr>
              <p:nvPr/>
            </p:nvSpPr>
            <p:spPr bwMode="auto">
              <a:xfrm>
                <a:off x="887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9" name="Freeform 124"/>
              <p:cNvSpPr>
                <a:spLocks noChangeAspect="1"/>
              </p:cNvSpPr>
              <p:nvPr/>
            </p:nvSpPr>
            <p:spPr bwMode="auto">
              <a:xfrm>
                <a:off x="860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30" name="Freeform 125"/>
              <p:cNvSpPr>
                <a:spLocks noChangeAspect="1"/>
              </p:cNvSpPr>
              <p:nvPr/>
            </p:nvSpPr>
            <p:spPr bwMode="auto">
              <a:xfrm>
                <a:off x="828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31" name="Freeform 126"/>
              <p:cNvSpPr>
                <a:spLocks noChangeAspect="1"/>
              </p:cNvSpPr>
              <p:nvPr/>
            </p:nvSpPr>
            <p:spPr bwMode="auto">
              <a:xfrm>
                <a:off x="803" y="1940"/>
                <a:ext cx="17" cy="17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32" name="Freeform 127"/>
              <p:cNvSpPr>
                <a:spLocks noChangeAspect="1"/>
              </p:cNvSpPr>
              <p:nvPr/>
            </p:nvSpPr>
            <p:spPr bwMode="auto">
              <a:xfrm>
                <a:off x="666" y="1224"/>
                <a:ext cx="95" cy="1429"/>
              </a:xfrm>
              <a:custGeom>
                <a:avLst/>
                <a:gdLst>
                  <a:gd name="T0" fmla="*/ 1 w 160"/>
                  <a:gd name="T1" fmla="*/ 1 h 2429"/>
                  <a:gd name="T2" fmla="*/ 1 w 160"/>
                  <a:gd name="T3" fmla="*/ 1 h 2429"/>
                  <a:gd name="T4" fmla="*/ 1 w 160"/>
                  <a:gd name="T5" fmla="*/ 1 h 2429"/>
                  <a:gd name="T6" fmla="*/ 1 w 160"/>
                  <a:gd name="T7" fmla="*/ 1 h 2429"/>
                  <a:gd name="T8" fmla="*/ 1 w 160"/>
                  <a:gd name="T9" fmla="*/ 1 h 2429"/>
                  <a:gd name="T10" fmla="*/ 1 w 160"/>
                  <a:gd name="T11" fmla="*/ 1 h 2429"/>
                  <a:gd name="T12" fmla="*/ 1 w 160"/>
                  <a:gd name="T13" fmla="*/ 1 h 24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2429"/>
                  <a:gd name="T23" fmla="*/ 160 w 160"/>
                  <a:gd name="T24" fmla="*/ 2429 h 24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2429">
                    <a:moveTo>
                      <a:pt x="160" y="2423"/>
                    </a:moveTo>
                    <a:cubicBezTo>
                      <a:pt x="146" y="2413"/>
                      <a:pt x="100" y="2429"/>
                      <a:pt x="78" y="2365"/>
                    </a:cubicBezTo>
                    <a:cubicBezTo>
                      <a:pt x="56" y="2301"/>
                      <a:pt x="43" y="2229"/>
                      <a:pt x="30" y="2038"/>
                    </a:cubicBezTo>
                    <a:cubicBezTo>
                      <a:pt x="17" y="1847"/>
                      <a:pt x="4" y="1491"/>
                      <a:pt x="2" y="1217"/>
                    </a:cubicBezTo>
                    <a:cubicBezTo>
                      <a:pt x="0" y="943"/>
                      <a:pt x="8" y="584"/>
                      <a:pt x="21" y="392"/>
                    </a:cubicBezTo>
                    <a:cubicBezTo>
                      <a:pt x="34" y="200"/>
                      <a:pt x="55" y="130"/>
                      <a:pt x="78" y="65"/>
                    </a:cubicBezTo>
                    <a:cubicBezTo>
                      <a:pt x="101" y="0"/>
                      <a:pt x="143" y="17"/>
                      <a:pt x="160" y="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9" name="그룹 107"/>
            <p:cNvGrpSpPr>
              <a:grpSpLocks/>
            </p:cNvGrpSpPr>
            <p:nvPr/>
          </p:nvGrpSpPr>
          <p:grpSpPr bwMode="auto">
            <a:xfrm>
              <a:off x="2030116" y="4453396"/>
              <a:ext cx="279212" cy="242675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0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1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그룹 107"/>
            <p:cNvGrpSpPr>
              <a:grpSpLocks/>
            </p:cNvGrpSpPr>
            <p:nvPr/>
          </p:nvGrpSpPr>
          <p:grpSpPr bwMode="auto">
            <a:xfrm rot="10800000">
              <a:off x="3898893" y="4438462"/>
              <a:ext cx="279212" cy="246408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3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424" name="그룹 107"/>
            <p:cNvGrpSpPr>
              <a:grpSpLocks/>
            </p:cNvGrpSpPr>
            <p:nvPr/>
          </p:nvGrpSpPr>
          <p:grpSpPr bwMode="auto">
            <a:xfrm rot="5400000">
              <a:off x="3017029" y="3892239"/>
              <a:ext cx="362146" cy="185218"/>
              <a:chOff x="1665463" y="5157193"/>
              <a:chExt cx="407217" cy="288032"/>
            </a:xfrm>
          </p:grpSpPr>
          <p:sp>
            <p:nvSpPr>
              <p:cNvPr id="16431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6432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grpSp>
          <p:nvGrpSpPr>
            <p:cNvPr id="16425" name="그룹 107"/>
            <p:cNvGrpSpPr>
              <a:grpSpLocks/>
            </p:cNvGrpSpPr>
            <p:nvPr/>
          </p:nvGrpSpPr>
          <p:grpSpPr bwMode="auto">
            <a:xfrm rot="-5400000">
              <a:off x="3017029" y="5057075"/>
              <a:ext cx="362146" cy="185218"/>
              <a:chOff x="1665463" y="5157193"/>
              <a:chExt cx="407217" cy="288032"/>
            </a:xfrm>
          </p:grpSpPr>
          <p:sp>
            <p:nvSpPr>
              <p:cNvPr id="16429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6430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sp>
          <p:nvSpPr>
            <p:cNvPr id="16426" name="Oval 26"/>
            <p:cNvSpPr>
              <a:spLocks noChangeAspect="1" noChangeArrowheads="1"/>
            </p:cNvSpPr>
            <p:nvPr/>
          </p:nvSpPr>
          <p:spPr bwMode="auto">
            <a:xfrm rot="5400000">
              <a:off x="1143152" y="4146513"/>
              <a:ext cx="1743519" cy="826574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ot="10800000" vert="eaVert"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6427" name="Oval 129"/>
            <p:cNvSpPr>
              <a:spLocks noChangeAspect="1" noChangeArrowheads="1"/>
            </p:cNvSpPr>
            <p:nvPr/>
          </p:nvSpPr>
          <p:spPr bwMode="auto">
            <a:xfrm>
              <a:off x="2168339" y="4785674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6428" name="Oval 130"/>
            <p:cNvSpPr>
              <a:spLocks noChangeAspect="1" noChangeArrowheads="1"/>
            </p:cNvSpPr>
            <p:nvPr/>
          </p:nvSpPr>
          <p:spPr bwMode="auto">
            <a:xfrm>
              <a:off x="2168339" y="3381897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</p:grpSp>
      <p:grpSp>
        <p:nvGrpSpPr>
          <p:cNvPr id="227" name="Group 27"/>
          <p:cNvGrpSpPr>
            <a:grpSpLocks noChangeAspect="1"/>
          </p:cNvGrpSpPr>
          <p:nvPr/>
        </p:nvGrpSpPr>
        <p:grpSpPr bwMode="auto">
          <a:xfrm>
            <a:off x="4399495" y="2461506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22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2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29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cxnSp>
        <p:nvCxnSpPr>
          <p:cNvPr id="16391" name="직선 연결선 12287"/>
          <p:cNvCxnSpPr>
            <a:cxnSpLocks noChangeShapeType="1"/>
          </p:cNvCxnSpPr>
          <p:nvPr/>
        </p:nvCxnSpPr>
        <p:spPr bwMode="auto">
          <a:xfrm>
            <a:off x="365125" y="3157538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289" name="원호 12288"/>
          <p:cNvSpPr/>
          <p:nvPr/>
        </p:nvSpPr>
        <p:spPr bwMode="auto">
          <a:xfrm>
            <a:off x="4160838" y="3162300"/>
            <a:ext cx="3606800" cy="1527175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6393" name="직선 연결선 332"/>
          <p:cNvCxnSpPr>
            <a:cxnSpLocks noChangeShapeType="1"/>
          </p:cNvCxnSpPr>
          <p:nvPr/>
        </p:nvCxnSpPr>
        <p:spPr bwMode="auto">
          <a:xfrm>
            <a:off x="774700" y="2365375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4" name="원호 333"/>
          <p:cNvSpPr/>
          <p:nvPr/>
        </p:nvSpPr>
        <p:spPr bwMode="auto">
          <a:xfrm>
            <a:off x="4570413" y="2370138"/>
            <a:ext cx="3606800" cy="1528762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6395" name="직선 연결선 334"/>
          <p:cNvCxnSpPr>
            <a:cxnSpLocks noChangeShapeType="1"/>
          </p:cNvCxnSpPr>
          <p:nvPr/>
        </p:nvCxnSpPr>
        <p:spPr bwMode="auto">
          <a:xfrm>
            <a:off x="1657350" y="1681163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6" name="원호 335"/>
          <p:cNvSpPr/>
          <p:nvPr/>
        </p:nvSpPr>
        <p:spPr bwMode="auto">
          <a:xfrm>
            <a:off x="5453063" y="1685925"/>
            <a:ext cx="3605212" cy="1528763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grpSp>
        <p:nvGrpSpPr>
          <p:cNvPr id="337" name="Group 27"/>
          <p:cNvGrpSpPr>
            <a:grpSpLocks noChangeAspect="1"/>
          </p:cNvGrpSpPr>
          <p:nvPr/>
        </p:nvGrpSpPr>
        <p:grpSpPr bwMode="auto">
          <a:xfrm rot="866380">
            <a:off x="7445061" y="2045738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33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3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0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grpSp>
        <p:nvGrpSpPr>
          <p:cNvPr id="440" name="Group 27"/>
          <p:cNvGrpSpPr>
            <a:grpSpLocks noChangeAspect="1"/>
          </p:cNvGrpSpPr>
          <p:nvPr/>
        </p:nvGrpSpPr>
        <p:grpSpPr bwMode="auto">
          <a:xfrm>
            <a:off x="2109245" y="1745963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441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2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3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4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5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6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7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8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9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0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1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2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3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4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5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6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7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8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9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0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1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2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3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4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5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6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7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8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9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0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1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2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3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4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5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6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7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8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9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0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1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2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3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4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5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6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7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8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9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0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1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2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3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4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5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6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7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8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9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0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1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2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3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4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5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6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7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8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9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0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1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2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3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4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5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6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7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8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9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0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1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2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3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4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5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6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7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8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9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0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1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32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3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4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5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6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7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8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9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40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pic>
        <p:nvPicPr>
          <p:cNvPr id="16399" name="그림 1229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088" y="5345113"/>
            <a:ext cx="633412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400" name="구부러진 연결선 12301"/>
          <p:cNvCxnSpPr>
            <a:cxnSpLocks noChangeShapeType="1"/>
          </p:cNvCxnSpPr>
          <p:nvPr/>
        </p:nvCxnSpPr>
        <p:spPr bwMode="auto">
          <a:xfrm rot="10800000" flipV="1">
            <a:off x="6850063" y="2312988"/>
            <a:ext cx="2649537" cy="1800225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01" name="구부러진 연결선 551"/>
          <p:cNvCxnSpPr>
            <a:cxnSpLocks noChangeShapeType="1"/>
          </p:cNvCxnSpPr>
          <p:nvPr/>
        </p:nvCxnSpPr>
        <p:spPr bwMode="auto">
          <a:xfrm rot="10800000" flipV="1">
            <a:off x="6886575" y="2349500"/>
            <a:ext cx="2649538" cy="180181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402" name="타원 1"/>
          <p:cNvSpPr>
            <a:spLocks noChangeArrowheads="1"/>
          </p:cNvSpPr>
          <p:nvPr/>
        </p:nvSpPr>
        <p:spPr bwMode="auto">
          <a:xfrm>
            <a:off x="2724150" y="1585913"/>
            <a:ext cx="373063" cy="328612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6403" name="타원 544"/>
          <p:cNvSpPr>
            <a:spLocks noChangeArrowheads="1"/>
          </p:cNvSpPr>
          <p:nvPr/>
        </p:nvSpPr>
        <p:spPr bwMode="auto">
          <a:xfrm>
            <a:off x="5070475" y="2266950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16404" name="타원 545"/>
          <p:cNvSpPr>
            <a:spLocks noChangeArrowheads="1"/>
          </p:cNvSpPr>
          <p:nvPr/>
        </p:nvSpPr>
        <p:spPr bwMode="auto">
          <a:xfrm>
            <a:off x="8129588" y="2136775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3</a:t>
            </a:r>
            <a:endParaRPr lang="ko-KR" altLang="en-US"/>
          </a:p>
        </p:txBody>
      </p:sp>
      <p:sp>
        <p:nvSpPr>
          <p:cNvPr id="16405" name="타원 546"/>
          <p:cNvSpPr>
            <a:spLocks noChangeArrowheads="1"/>
          </p:cNvSpPr>
          <p:nvPr/>
        </p:nvSpPr>
        <p:spPr bwMode="auto">
          <a:xfrm>
            <a:off x="9080500" y="5141913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4</a:t>
            </a:r>
            <a:endParaRPr lang="ko-KR" altLang="en-US"/>
          </a:p>
        </p:txBody>
      </p:sp>
      <p:grpSp>
        <p:nvGrpSpPr>
          <p:cNvPr id="549" name="Group 27"/>
          <p:cNvGrpSpPr>
            <a:grpSpLocks noChangeAspect="1"/>
          </p:cNvGrpSpPr>
          <p:nvPr/>
        </p:nvGrpSpPr>
        <p:grpSpPr bwMode="auto">
          <a:xfrm>
            <a:off x="3133862" y="2430102"/>
            <a:ext cx="990916" cy="585922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550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1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2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3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4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5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6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7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8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9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0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1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2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3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4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5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6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7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8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9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0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1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2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3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4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5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6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7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8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9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0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1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2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3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4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5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6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7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8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9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0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1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2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3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4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5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6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7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8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9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0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1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2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3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4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5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6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7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8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9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0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1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2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3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4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5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6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7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8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9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0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1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2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3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4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5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6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7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8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9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0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1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2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3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4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5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6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7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8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9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0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41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2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3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4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5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6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7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8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9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sp>
        <p:nvSpPr>
          <p:cNvPr id="16407" name="타원 649"/>
          <p:cNvSpPr>
            <a:spLocks noChangeArrowheads="1"/>
          </p:cNvSpPr>
          <p:nvPr/>
        </p:nvSpPr>
        <p:spPr bwMode="auto">
          <a:xfrm>
            <a:off x="744538" y="3771900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6408" name="Content Placeholder 1"/>
          <p:cNvSpPr>
            <a:spLocks noGrp="1"/>
          </p:cNvSpPr>
          <p:nvPr>
            <p:ph idx="4294967295"/>
          </p:nvPr>
        </p:nvSpPr>
        <p:spPr>
          <a:xfrm>
            <a:off x="1212850" y="3716338"/>
            <a:ext cx="5141913" cy="439737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don’t know when/whether other vehicles will change lanes.</a:t>
            </a:r>
          </a:p>
        </p:txBody>
      </p:sp>
      <p:sp>
        <p:nvSpPr>
          <p:cNvPr id="16409" name="직사각형 36"/>
          <p:cNvSpPr>
            <a:spLocks noChangeArrowheads="1"/>
          </p:cNvSpPr>
          <p:nvPr/>
        </p:nvSpPr>
        <p:spPr bwMode="auto">
          <a:xfrm>
            <a:off x="911225" y="2600325"/>
            <a:ext cx="574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 b="1">
                <a:solidFill>
                  <a:srgbClr val="FF0000"/>
                </a:solidFill>
              </a:rPr>
              <a:t>HV</a:t>
            </a:r>
            <a:endParaRPr lang="ko-KR" altLang="en-US" sz="1200" b="1">
              <a:solidFill>
                <a:srgbClr val="FF0000"/>
              </a:solidFill>
            </a:endParaRPr>
          </a:p>
        </p:txBody>
      </p:sp>
      <p:sp>
        <p:nvSpPr>
          <p:cNvPr id="16410" name="타원 653"/>
          <p:cNvSpPr>
            <a:spLocks noChangeArrowheads="1"/>
          </p:cNvSpPr>
          <p:nvPr/>
        </p:nvSpPr>
        <p:spPr bwMode="auto">
          <a:xfrm>
            <a:off x="744538" y="4321175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16411" name="Content Placeholder 1"/>
          <p:cNvSpPr>
            <a:spLocks noGrp="1"/>
          </p:cNvSpPr>
          <p:nvPr>
            <p:ph idx="4294967295"/>
          </p:nvPr>
        </p:nvSpPr>
        <p:spPr>
          <a:xfrm>
            <a:off x="1212850" y="4267200"/>
            <a:ext cx="5037138" cy="438150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may not detect this vehicle which is not in line-of-sight.</a:t>
            </a:r>
          </a:p>
        </p:txBody>
      </p:sp>
      <p:sp>
        <p:nvSpPr>
          <p:cNvPr id="16412" name="타원 655"/>
          <p:cNvSpPr>
            <a:spLocks noChangeArrowheads="1"/>
          </p:cNvSpPr>
          <p:nvPr/>
        </p:nvSpPr>
        <p:spPr bwMode="auto">
          <a:xfrm>
            <a:off x="744538" y="4870450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3</a:t>
            </a:r>
            <a:endParaRPr lang="ko-KR" altLang="en-US"/>
          </a:p>
        </p:txBody>
      </p:sp>
      <p:sp>
        <p:nvSpPr>
          <p:cNvPr id="16413" name="Content Placeholder 1"/>
          <p:cNvSpPr>
            <a:spLocks noGrp="1"/>
          </p:cNvSpPr>
          <p:nvPr>
            <p:ph idx="4294967295"/>
          </p:nvPr>
        </p:nvSpPr>
        <p:spPr>
          <a:xfrm>
            <a:off x="1212850" y="4816475"/>
            <a:ext cx="4995863" cy="439738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cannot know whether lane change is happening or the vehicle is moving on curved road.</a:t>
            </a:r>
          </a:p>
        </p:txBody>
      </p:sp>
      <p:sp>
        <p:nvSpPr>
          <p:cNvPr id="16414" name="타원 657"/>
          <p:cNvSpPr>
            <a:spLocks noChangeArrowheads="1"/>
          </p:cNvSpPr>
          <p:nvPr/>
        </p:nvSpPr>
        <p:spPr bwMode="auto">
          <a:xfrm>
            <a:off x="744538" y="5421313"/>
            <a:ext cx="373062" cy="328612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4</a:t>
            </a:r>
            <a:endParaRPr lang="ko-KR" altLang="en-US"/>
          </a:p>
        </p:txBody>
      </p:sp>
      <p:sp>
        <p:nvSpPr>
          <p:cNvPr id="16415" name="Content Placeholder 1"/>
          <p:cNvSpPr>
            <a:spLocks noGrp="1"/>
          </p:cNvSpPr>
          <p:nvPr>
            <p:ph idx="4294967295"/>
          </p:nvPr>
        </p:nvSpPr>
        <p:spPr>
          <a:xfrm>
            <a:off x="1212850" y="5365750"/>
            <a:ext cx="4014788" cy="439738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don’t know which route should be avoided</a:t>
            </a:r>
          </a:p>
        </p:txBody>
      </p:sp>
      <p:pic>
        <p:nvPicPr>
          <p:cNvPr id="16416" name="그림 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3141663"/>
            <a:ext cx="261938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7" name="그림 660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2363" y="2838450"/>
            <a:ext cx="261937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8" name="그림 661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25" y="2852738"/>
            <a:ext cx="252095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9" name="그림 662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5565775"/>
            <a:ext cx="25193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0" name="그림 123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863" y="5345113"/>
            <a:ext cx="490537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37044012-EE94-4D4F-8531-501FBA9DF6B0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6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8435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Then, what communication can do</a:t>
            </a:r>
          </a:p>
        </p:txBody>
      </p:sp>
      <p:sp>
        <p:nvSpPr>
          <p:cNvPr id="18436" name="Oval 20"/>
          <p:cNvSpPr>
            <a:spLocks noChangeAspect="1" noChangeArrowheads="1"/>
          </p:cNvSpPr>
          <p:nvPr/>
        </p:nvSpPr>
        <p:spPr bwMode="auto">
          <a:xfrm rot="5400000">
            <a:off x="1987550" y="2014538"/>
            <a:ext cx="750888" cy="1452562"/>
          </a:xfrm>
          <a:prstGeom prst="ellipse">
            <a:avLst/>
          </a:prstGeom>
          <a:solidFill>
            <a:schemeClr val="folHlink">
              <a:alpha val="30196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kumimoji="1" lang="ko-KR" altLang="en-US" sz="1400">
              <a:solidFill>
                <a:schemeClr val="tx1"/>
              </a:solidFill>
              <a:latin typeface="맑은 고딕" charset="-127"/>
              <a:ea typeface="맑은 고딕" charset="-127"/>
              <a:cs typeface="가는둥근제목체" charset="0"/>
            </a:endParaRPr>
          </a:p>
        </p:txBody>
      </p:sp>
      <p:grpSp>
        <p:nvGrpSpPr>
          <p:cNvPr id="18437" name="그룹 2"/>
          <p:cNvGrpSpPr>
            <a:grpSpLocks/>
          </p:cNvGrpSpPr>
          <p:nvPr/>
        </p:nvGrpSpPr>
        <p:grpSpPr bwMode="auto">
          <a:xfrm>
            <a:off x="452438" y="2219325"/>
            <a:ext cx="1490662" cy="1066800"/>
            <a:chOff x="1601625" y="3381897"/>
            <a:chExt cx="2576480" cy="2329672"/>
          </a:xfrm>
        </p:grpSpPr>
        <p:grpSp>
          <p:nvGrpSpPr>
            <p:cNvPr id="18486" name="Group 27"/>
            <p:cNvGrpSpPr>
              <a:grpSpLocks noChangeAspect="1"/>
            </p:cNvGrpSpPr>
            <p:nvPr/>
          </p:nvGrpSpPr>
          <p:grpSpPr bwMode="auto">
            <a:xfrm>
              <a:off x="2317620" y="4102451"/>
              <a:ext cx="1578510" cy="933362"/>
              <a:chOff x="173" y="619"/>
              <a:chExt cx="5499" cy="2644"/>
            </a:xfrm>
          </p:grpSpPr>
          <p:sp>
            <p:nvSpPr>
              <p:cNvPr id="18498" name="Freeform 28"/>
              <p:cNvSpPr>
                <a:spLocks noChangeAspect="1"/>
              </p:cNvSpPr>
              <p:nvPr/>
            </p:nvSpPr>
            <p:spPr bwMode="auto">
              <a:xfrm>
                <a:off x="173" y="813"/>
                <a:ext cx="5499" cy="2253"/>
              </a:xfrm>
              <a:custGeom>
                <a:avLst/>
                <a:gdLst>
                  <a:gd name="T0" fmla="*/ 1 w 9242"/>
                  <a:gd name="T1" fmla="*/ 1 h 3786"/>
                  <a:gd name="T2" fmla="*/ 1 w 9242"/>
                  <a:gd name="T3" fmla="*/ 1 h 3786"/>
                  <a:gd name="T4" fmla="*/ 1 w 9242"/>
                  <a:gd name="T5" fmla="*/ 1 h 3786"/>
                  <a:gd name="T6" fmla="*/ 1 w 9242"/>
                  <a:gd name="T7" fmla="*/ 1 h 3786"/>
                  <a:gd name="T8" fmla="*/ 1 w 9242"/>
                  <a:gd name="T9" fmla="*/ 1 h 3786"/>
                  <a:gd name="T10" fmla="*/ 1 w 9242"/>
                  <a:gd name="T11" fmla="*/ 1 h 3786"/>
                  <a:gd name="T12" fmla="*/ 1 w 9242"/>
                  <a:gd name="T13" fmla="*/ 1 h 3786"/>
                  <a:gd name="T14" fmla="*/ 1 w 9242"/>
                  <a:gd name="T15" fmla="*/ 1 h 3786"/>
                  <a:gd name="T16" fmla="*/ 1 w 9242"/>
                  <a:gd name="T17" fmla="*/ 1 h 3786"/>
                  <a:gd name="T18" fmla="*/ 1 w 9242"/>
                  <a:gd name="T19" fmla="*/ 1 h 3786"/>
                  <a:gd name="T20" fmla="*/ 1 w 9242"/>
                  <a:gd name="T21" fmla="*/ 1 h 3786"/>
                  <a:gd name="T22" fmla="*/ 1 w 9242"/>
                  <a:gd name="T23" fmla="*/ 1 h 3786"/>
                  <a:gd name="T24" fmla="*/ 1 w 9242"/>
                  <a:gd name="T25" fmla="*/ 1 h 3786"/>
                  <a:gd name="T26" fmla="*/ 1 w 9242"/>
                  <a:gd name="T27" fmla="*/ 1 h 3786"/>
                  <a:gd name="T28" fmla="*/ 1 w 9242"/>
                  <a:gd name="T29" fmla="*/ 1 h 3786"/>
                  <a:gd name="T30" fmla="*/ 1 w 9242"/>
                  <a:gd name="T31" fmla="*/ 1 h 3786"/>
                  <a:gd name="T32" fmla="*/ 1 w 9242"/>
                  <a:gd name="T33" fmla="*/ 1 h 3786"/>
                  <a:gd name="T34" fmla="*/ 1 w 9242"/>
                  <a:gd name="T35" fmla="*/ 1 h 3786"/>
                  <a:gd name="T36" fmla="*/ 1 w 9242"/>
                  <a:gd name="T37" fmla="*/ 1 h 3786"/>
                  <a:gd name="T38" fmla="*/ 1 w 9242"/>
                  <a:gd name="T39" fmla="*/ 1 h 3786"/>
                  <a:gd name="T40" fmla="*/ 1 w 9242"/>
                  <a:gd name="T41" fmla="*/ 1 h 3786"/>
                  <a:gd name="T42" fmla="*/ 1 w 9242"/>
                  <a:gd name="T43" fmla="*/ 1 h 3786"/>
                  <a:gd name="T44" fmla="*/ 1 w 9242"/>
                  <a:gd name="T45" fmla="*/ 1 h 3786"/>
                  <a:gd name="T46" fmla="*/ 1 w 9242"/>
                  <a:gd name="T47" fmla="*/ 1 h 3786"/>
                  <a:gd name="T48" fmla="*/ 1 w 9242"/>
                  <a:gd name="T49" fmla="*/ 1 h 3786"/>
                  <a:gd name="T50" fmla="*/ 1 w 9242"/>
                  <a:gd name="T51" fmla="*/ 1 h 3786"/>
                  <a:gd name="T52" fmla="*/ 1 w 9242"/>
                  <a:gd name="T53" fmla="*/ 1 h 3786"/>
                  <a:gd name="T54" fmla="*/ 1 w 9242"/>
                  <a:gd name="T55" fmla="*/ 1 h 3786"/>
                  <a:gd name="T56" fmla="*/ 1 w 9242"/>
                  <a:gd name="T57" fmla="*/ 1 h 3786"/>
                  <a:gd name="T58" fmla="*/ 1 w 9242"/>
                  <a:gd name="T59" fmla="*/ 1 h 3786"/>
                  <a:gd name="T60" fmla="*/ 1 w 9242"/>
                  <a:gd name="T61" fmla="*/ 1 h 3786"/>
                  <a:gd name="T62" fmla="*/ 1 w 9242"/>
                  <a:gd name="T63" fmla="*/ 1 h 3786"/>
                  <a:gd name="T64" fmla="*/ 1 w 9242"/>
                  <a:gd name="T65" fmla="*/ 1 h 3786"/>
                  <a:gd name="T66" fmla="*/ 1 w 9242"/>
                  <a:gd name="T67" fmla="*/ 1 h 3786"/>
                  <a:gd name="T68" fmla="*/ 0 w 9242"/>
                  <a:gd name="T69" fmla="*/ 1 h 3786"/>
                  <a:gd name="T70" fmla="*/ 1 w 9242"/>
                  <a:gd name="T71" fmla="*/ 1 h 3786"/>
                  <a:gd name="T72" fmla="*/ 1 w 9242"/>
                  <a:gd name="T73" fmla="*/ 1 h 3786"/>
                  <a:gd name="T74" fmla="*/ 1 w 9242"/>
                  <a:gd name="T75" fmla="*/ 1 h 3786"/>
                  <a:gd name="T76" fmla="*/ 1 w 9242"/>
                  <a:gd name="T77" fmla="*/ 1 h 37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242"/>
                  <a:gd name="T118" fmla="*/ 0 h 3786"/>
                  <a:gd name="T119" fmla="*/ 9242 w 9242"/>
                  <a:gd name="T120" fmla="*/ 3786 h 378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242" h="3786">
                    <a:moveTo>
                      <a:pt x="444" y="208"/>
                    </a:moveTo>
                    <a:lnTo>
                      <a:pt x="498" y="186"/>
                    </a:lnTo>
                    <a:lnTo>
                      <a:pt x="520" y="143"/>
                    </a:lnTo>
                    <a:lnTo>
                      <a:pt x="535" y="136"/>
                    </a:lnTo>
                    <a:cubicBezTo>
                      <a:pt x="553" y="133"/>
                      <a:pt x="555" y="138"/>
                      <a:pt x="627" y="127"/>
                    </a:cubicBezTo>
                    <a:cubicBezTo>
                      <a:pt x="699" y="116"/>
                      <a:pt x="760" y="85"/>
                      <a:pt x="967" y="68"/>
                    </a:cubicBezTo>
                    <a:cubicBezTo>
                      <a:pt x="1174" y="51"/>
                      <a:pt x="1572" y="32"/>
                      <a:pt x="1867" y="27"/>
                    </a:cubicBezTo>
                    <a:cubicBezTo>
                      <a:pt x="2162" y="22"/>
                      <a:pt x="2456" y="37"/>
                      <a:pt x="2737" y="39"/>
                    </a:cubicBezTo>
                    <a:cubicBezTo>
                      <a:pt x="3018" y="41"/>
                      <a:pt x="3054" y="41"/>
                      <a:pt x="3556" y="41"/>
                    </a:cubicBezTo>
                    <a:cubicBezTo>
                      <a:pt x="4058" y="41"/>
                      <a:pt x="5224" y="44"/>
                      <a:pt x="5748" y="42"/>
                    </a:cubicBezTo>
                    <a:cubicBezTo>
                      <a:pt x="6272" y="40"/>
                      <a:pt x="6401" y="31"/>
                      <a:pt x="6700" y="26"/>
                    </a:cubicBezTo>
                    <a:cubicBezTo>
                      <a:pt x="6999" y="21"/>
                      <a:pt x="7278" y="0"/>
                      <a:pt x="7542" y="11"/>
                    </a:cubicBezTo>
                    <a:cubicBezTo>
                      <a:pt x="7806" y="22"/>
                      <a:pt x="8080" y="37"/>
                      <a:pt x="8286" y="92"/>
                    </a:cubicBezTo>
                    <a:cubicBezTo>
                      <a:pt x="8492" y="147"/>
                      <a:pt x="8639" y="193"/>
                      <a:pt x="8779" y="339"/>
                    </a:cubicBezTo>
                    <a:cubicBezTo>
                      <a:pt x="8919" y="485"/>
                      <a:pt x="9051" y="708"/>
                      <a:pt x="9128" y="968"/>
                    </a:cubicBezTo>
                    <a:cubicBezTo>
                      <a:pt x="9205" y="1228"/>
                      <a:pt x="9242" y="1590"/>
                      <a:pt x="9242" y="1897"/>
                    </a:cubicBezTo>
                    <a:cubicBezTo>
                      <a:pt x="9242" y="2204"/>
                      <a:pt x="9209" y="2550"/>
                      <a:pt x="9131" y="2809"/>
                    </a:cubicBezTo>
                    <a:cubicBezTo>
                      <a:pt x="9053" y="3068"/>
                      <a:pt x="8921" y="3301"/>
                      <a:pt x="8773" y="3450"/>
                    </a:cubicBezTo>
                    <a:cubicBezTo>
                      <a:pt x="8625" y="3600"/>
                      <a:pt x="8464" y="3647"/>
                      <a:pt x="8242" y="3702"/>
                    </a:cubicBezTo>
                    <a:cubicBezTo>
                      <a:pt x="8020" y="3757"/>
                      <a:pt x="7704" y="3770"/>
                      <a:pt x="7442" y="3778"/>
                    </a:cubicBezTo>
                    <a:cubicBezTo>
                      <a:pt x="7180" y="3786"/>
                      <a:pt x="6955" y="3754"/>
                      <a:pt x="6670" y="3749"/>
                    </a:cubicBezTo>
                    <a:cubicBezTo>
                      <a:pt x="6385" y="3744"/>
                      <a:pt x="6252" y="3748"/>
                      <a:pt x="5732" y="3747"/>
                    </a:cubicBezTo>
                    <a:cubicBezTo>
                      <a:pt x="5212" y="3746"/>
                      <a:pt x="4052" y="3743"/>
                      <a:pt x="3552" y="3743"/>
                    </a:cubicBezTo>
                    <a:cubicBezTo>
                      <a:pt x="3052" y="3743"/>
                      <a:pt x="3013" y="3746"/>
                      <a:pt x="2732" y="3749"/>
                    </a:cubicBezTo>
                    <a:cubicBezTo>
                      <a:pt x="2451" y="3752"/>
                      <a:pt x="2158" y="3764"/>
                      <a:pt x="1864" y="3759"/>
                    </a:cubicBezTo>
                    <a:cubicBezTo>
                      <a:pt x="1570" y="3753"/>
                      <a:pt x="1180" y="3733"/>
                      <a:pt x="970" y="3715"/>
                    </a:cubicBezTo>
                    <a:cubicBezTo>
                      <a:pt x="760" y="3698"/>
                      <a:pt x="677" y="3667"/>
                      <a:pt x="602" y="3655"/>
                    </a:cubicBezTo>
                    <a:cubicBezTo>
                      <a:pt x="527" y="3642"/>
                      <a:pt x="536" y="3651"/>
                      <a:pt x="518" y="3641"/>
                    </a:cubicBezTo>
                    <a:lnTo>
                      <a:pt x="496" y="3597"/>
                    </a:lnTo>
                    <a:lnTo>
                      <a:pt x="454" y="3579"/>
                    </a:lnTo>
                    <a:lnTo>
                      <a:pt x="438" y="3573"/>
                    </a:lnTo>
                    <a:cubicBezTo>
                      <a:pt x="408" y="3548"/>
                      <a:pt x="327" y="3508"/>
                      <a:pt x="276" y="3425"/>
                    </a:cubicBezTo>
                    <a:cubicBezTo>
                      <a:pt x="225" y="3341"/>
                      <a:pt x="168" y="3207"/>
                      <a:pt x="130" y="3072"/>
                    </a:cubicBezTo>
                    <a:cubicBezTo>
                      <a:pt x="92" y="2936"/>
                      <a:pt x="68" y="2806"/>
                      <a:pt x="46" y="2612"/>
                    </a:cubicBezTo>
                    <a:cubicBezTo>
                      <a:pt x="24" y="2419"/>
                      <a:pt x="0" y="2153"/>
                      <a:pt x="0" y="1913"/>
                    </a:cubicBezTo>
                    <a:cubicBezTo>
                      <a:pt x="0" y="1672"/>
                      <a:pt x="22" y="1368"/>
                      <a:pt x="45" y="1168"/>
                    </a:cubicBezTo>
                    <a:cubicBezTo>
                      <a:pt x="68" y="968"/>
                      <a:pt x="98" y="849"/>
                      <a:pt x="136" y="713"/>
                    </a:cubicBezTo>
                    <a:cubicBezTo>
                      <a:pt x="174" y="576"/>
                      <a:pt x="225" y="435"/>
                      <a:pt x="276" y="351"/>
                    </a:cubicBezTo>
                    <a:cubicBezTo>
                      <a:pt x="327" y="266"/>
                      <a:pt x="444" y="208"/>
                      <a:pt x="444" y="208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99" name="Freeform 29"/>
              <p:cNvSpPr>
                <a:spLocks noChangeAspect="1"/>
              </p:cNvSpPr>
              <p:nvPr/>
            </p:nvSpPr>
            <p:spPr bwMode="auto">
              <a:xfrm>
                <a:off x="5552" y="1492"/>
                <a:ext cx="108" cy="895"/>
              </a:xfrm>
              <a:custGeom>
                <a:avLst/>
                <a:gdLst>
                  <a:gd name="T0" fmla="*/ 4913 w 93"/>
                  <a:gd name="T1" fmla="*/ 13861 h 768"/>
                  <a:gd name="T2" fmla="*/ 27626 w 93"/>
                  <a:gd name="T3" fmla="*/ 173375 h 768"/>
                  <a:gd name="T4" fmla="*/ 40773 w 93"/>
                  <a:gd name="T5" fmla="*/ 434267 h 768"/>
                  <a:gd name="T6" fmla="*/ 25451 w 93"/>
                  <a:gd name="T7" fmla="*/ 697175 h 768"/>
                  <a:gd name="T8" fmla="*/ 0 w 93"/>
                  <a:gd name="T9" fmla="*/ 863517 h 768"/>
                  <a:gd name="T10" fmla="*/ 5705 w 93"/>
                  <a:gd name="T11" fmla="*/ 868063 h 768"/>
                  <a:gd name="T12" fmla="*/ 31190 w 93"/>
                  <a:gd name="T13" fmla="*/ 869355 h 768"/>
                  <a:gd name="T14" fmla="*/ 60731 w 93"/>
                  <a:gd name="T15" fmla="*/ 829336 h 768"/>
                  <a:gd name="T16" fmla="*/ 63855 w 93"/>
                  <a:gd name="T17" fmla="*/ 818007 h 768"/>
                  <a:gd name="T18" fmla="*/ 83691 w 93"/>
                  <a:gd name="T19" fmla="*/ 652396 h 768"/>
                  <a:gd name="T20" fmla="*/ 89275 w 93"/>
                  <a:gd name="T21" fmla="*/ 436967 h 768"/>
                  <a:gd name="T22" fmla="*/ 81901 w 93"/>
                  <a:gd name="T23" fmla="*/ 212427 h 768"/>
                  <a:gd name="T24" fmla="*/ 61733 w 93"/>
                  <a:gd name="T25" fmla="*/ 34720 h 768"/>
                  <a:gd name="T26" fmla="*/ 53159 w 93"/>
                  <a:gd name="T27" fmla="*/ 25738 h 768"/>
                  <a:gd name="T28" fmla="*/ 26991 w 93"/>
                  <a:gd name="T29" fmla="*/ 3 h 768"/>
                  <a:gd name="T30" fmla="*/ 10376 w 93"/>
                  <a:gd name="T31" fmla="*/ 7515 h 768"/>
                  <a:gd name="T32" fmla="*/ 4913 w 93"/>
                  <a:gd name="T33" fmla="*/ 13861 h 76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"/>
                  <a:gd name="T52" fmla="*/ 0 h 768"/>
                  <a:gd name="T53" fmla="*/ 93 w 93"/>
                  <a:gd name="T54" fmla="*/ 768 h 76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" h="768">
                    <a:moveTo>
                      <a:pt x="5" y="12"/>
                    </a:moveTo>
                    <a:cubicBezTo>
                      <a:pt x="8" y="36"/>
                      <a:pt x="23" y="91"/>
                      <a:pt x="29" y="153"/>
                    </a:cubicBezTo>
                    <a:cubicBezTo>
                      <a:pt x="35" y="215"/>
                      <a:pt x="43" y="305"/>
                      <a:pt x="42" y="381"/>
                    </a:cubicBezTo>
                    <a:cubicBezTo>
                      <a:pt x="41" y="457"/>
                      <a:pt x="33" y="548"/>
                      <a:pt x="26" y="611"/>
                    </a:cubicBezTo>
                    <a:cubicBezTo>
                      <a:pt x="19" y="674"/>
                      <a:pt x="3" y="732"/>
                      <a:pt x="0" y="757"/>
                    </a:cubicBezTo>
                    <a:lnTo>
                      <a:pt x="6" y="761"/>
                    </a:lnTo>
                    <a:cubicBezTo>
                      <a:pt x="11" y="762"/>
                      <a:pt x="22" y="768"/>
                      <a:pt x="32" y="762"/>
                    </a:cubicBezTo>
                    <a:cubicBezTo>
                      <a:pt x="41" y="757"/>
                      <a:pt x="56" y="735"/>
                      <a:pt x="62" y="728"/>
                    </a:cubicBezTo>
                    <a:lnTo>
                      <a:pt x="66" y="717"/>
                    </a:lnTo>
                    <a:cubicBezTo>
                      <a:pt x="70" y="691"/>
                      <a:pt x="82" y="628"/>
                      <a:pt x="86" y="572"/>
                    </a:cubicBezTo>
                    <a:cubicBezTo>
                      <a:pt x="90" y="516"/>
                      <a:pt x="93" y="447"/>
                      <a:pt x="93" y="383"/>
                    </a:cubicBezTo>
                    <a:cubicBezTo>
                      <a:pt x="93" y="319"/>
                      <a:pt x="89" y="245"/>
                      <a:pt x="84" y="186"/>
                    </a:cubicBezTo>
                    <a:cubicBezTo>
                      <a:pt x="79" y="127"/>
                      <a:pt x="68" y="57"/>
                      <a:pt x="63" y="30"/>
                    </a:cubicBezTo>
                    <a:lnTo>
                      <a:pt x="54" y="23"/>
                    </a:lnTo>
                    <a:cubicBezTo>
                      <a:pt x="48" y="19"/>
                      <a:pt x="35" y="6"/>
                      <a:pt x="28" y="3"/>
                    </a:cubicBezTo>
                    <a:cubicBezTo>
                      <a:pt x="21" y="0"/>
                      <a:pt x="14" y="6"/>
                      <a:pt x="10" y="7"/>
                    </a:cubicBezTo>
                    <a:lnTo>
                      <a:pt x="5" y="12"/>
                    </a:ln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0" name="Freeform 30"/>
              <p:cNvSpPr>
                <a:spLocks noChangeAspect="1"/>
              </p:cNvSpPr>
              <p:nvPr/>
            </p:nvSpPr>
            <p:spPr bwMode="auto">
              <a:xfrm>
                <a:off x="223" y="1141"/>
                <a:ext cx="385" cy="1602"/>
              </a:xfrm>
              <a:custGeom>
                <a:avLst/>
                <a:gdLst>
                  <a:gd name="T0" fmla="*/ 1 w 647"/>
                  <a:gd name="T1" fmla="*/ 1 h 2749"/>
                  <a:gd name="T2" fmla="*/ 1 w 647"/>
                  <a:gd name="T3" fmla="*/ 1 h 2749"/>
                  <a:gd name="T4" fmla="*/ 1 w 647"/>
                  <a:gd name="T5" fmla="*/ 1 h 2749"/>
                  <a:gd name="T6" fmla="*/ 1 w 647"/>
                  <a:gd name="T7" fmla="*/ 1 h 2749"/>
                  <a:gd name="T8" fmla="*/ 1 w 647"/>
                  <a:gd name="T9" fmla="*/ 1 h 2749"/>
                  <a:gd name="T10" fmla="*/ 1 w 647"/>
                  <a:gd name="T11" fmla="*/ 1 h 2749"/>
                  <a:gd name="T12" fmla="*/ 0 w 647"/>
                  <a:gd name="T13" fmla="*/ 1 h 2749"/>
                  <a:gd name="T14" fmla="*/ 1 w 647"/>
                  <a:gd name="T15" fmla="*/ 1 h 2749"/>
                  <a:gd name="T16" fmla="*/ 1 w 647"/>
                  <a:gd name="T17" fmla="*/ 1 h 2749"/>
                  <a:gd name="T18" fmla="*/ 1 w 647"/>
                  <a:gd name="T19" fmla="*/ 1 h 2749"/>
                  <a:gd name="T20" fmla="*/ 1 w 647"/>
                  <a:gd name="T21" fmla="*/ 1 h 2749"/>
                  <a:gd name="T22" fmla="*/ 1 w 647"/>
                  <a:gd name="T23" fmla="*/ 1 h 2749"/>
                  <a:gd name="T24" fmla="*/ 1 w 647"/>
                  <a:gd name="T25" fmla="*/ 1 h 27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47"/>
                  <a:gd name="T40" fmla="*/ 0 h 2749"/>
                  <a:gd name="T41" fmla="*/ 647 w 647"/>
                  <a:gd name="T42" fmla="*/ 2749 h 274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47" h="2749">
                    <a:moveTo>
                      <a:pt x="628" y="2635"/>
                    </a:moveTo>
                    <a:cubicBezTo>
                      <a:pt x="624" y="2645"/>
                      <a:pt x="645" y="2678"/>
                      <a:pt x="604" y="2695"/>
                    </a:cubicBezTo>
                    <a:cubicBezTo>
                      <a:pt x="563" y="2712"/>
                      <a:pt x="443" y="2749"/>
                      <a:pt x="382" y="2738"/>
                    </a:cubicBezTo>
                    <a:cubicBezTo>
                      <a:pt x="321" y="2727"/>
                      <a:pt x="287" y="2697"/>
                      <a:pt x="240" y="2627"/>
                    </a:cubicBezTo>
                    <a:cubicBezTo>
                      <a:pt x="193" y="2557"/>
                      <a:pt x="134" y="2430"/>
                      <a:pt x="100" y="2319"/>
                    </a:cubicBezTo>
                    <a:cubicBezTo>
                      <a:pt x="66" y="2208"/>
                      <a:pt x="53" y="2119"/>
                      <a:pt x="36" y="1959"/>
                    </a:cubicBezTo>
                    <a:cubicBezTo>
                      <a:pt x="19" y="1799"/>
                      <a:pt x="0" y="1553"/>
                      <a:pt x="0" y="1359"/>
                    </a:cubicBezTo>
                    <a:cubicBezTo>
                      <a:pt x="0" y="1165"/>
                      <a:pt x="19" y="944"/>
                      <a:pt x="37" y="792"/>
                    </a:cubicBezTo>
                    <a:cubicBezTo>
                      <a:pt x="55" y="640"/>
                      <a:pt x="77" y="560"/>
                      <a:pt x="111" y="449"/>
                    </a:cubicBezTo>
                    <a:cubicBezTo>
                      <a:pt x="145" y="338"/>
                      <a:pt x="198" y="198"/>
                      <a:pt x="240" y="125"/>
                    </a:cubicBezTo>
                    <a:cubicBezTo>
                      <a:pt x="282" y="52"/>
                      <a:pt x="303" y="22"/>
                      <a:pt x="363" y="11"/>
                    </a:cubicBezTo>
                    <a:cubicBezTo>
                      <a:pt x="423" y="0"/>
                      <a:pt x="559" y="43"/>
                      <a:pt x="603" y="59"/>
                    </a:cubicBezTo>
                    <a:cubicBezTo>
                      <a:pt x="647" y="75"/>
                      <a:pt x="621" y="102"/>
                      <a:pt x="625" y="110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1" name="Freeform 31"/>
              <p:cNvSpPr>
                <a:spLocks noChangeAspect="1"/>
              </p:cNvSpPr>
              <p:nvPr/>
            </p:nvSpPr>
            <p:spPr bwMode="auto">
              <a:xfrm>
                <a:off x="448" y="1155"/>
                <a:ext cx="311" cy="1565"/>
              </a:xfrm>
              <a:custGeom>
                <a:avLst/>
                <a:gdLst>
                  <a:gd name="T0" fmla="*/ 1 w 523"/>
                  <a:gd name="T1" fmla="*/ 1 h 2682"/>
                  <a:gd name="T2" fmla="*/ 1 w 523"/>
                  <a:gd name="T3" fmla="*/ 1 h 2682"/>
                  <a:gd name="T4" fmla="*/ 1 w 523"/>
                  <a:gd name="T5" fmla="*/ 1 h 2682"/>
                  <a:gd name="T6" fmla="*/ 1 w 523"/>
                  <a:gd name="T7" fmla="*/ 1 h 2682"/>
                  <a:gd name="T8" fmla="*/ 1 w 523"/>
                  <a:gd name="T9" fmla="*/ 1 h 2682"/>
                  <a:gd name="T10" fmla="*/ 1 w 523"/>
                  <a:gd name="T11" fmla="*/ 1 h 2682"/>
                  <a:gd name="T12" fmla="*/ 1 w 523"/>
                  <a:gd name="T13" fmla="*/ 1 h 26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3"/>
                  <a:gd name="T22" fmla="*/ 0 h 2682"/>
                  <a:gd name="T23" fmla="*/ 523 w 523"/>
                  <a:gd name="T24" fmla="*/ 2682 h 26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3" h="2682">
                    <a:moveTo>
                      <a:pt x="523" y="2682"/>
                    </a:moveTo>
                    <a:cubicBezTo>
                      <a:pt x="469" y="2662"/>
                      <a:pt x="279" y="2669"/>
                      <a:pt x="197" y="2559"/>
                    </a:cubicBezTo>
                    <a:cubicBezTo>
                      <a:pt x="115" y="2449"/>
                      <a:pt x="66" y="2226"/>
                      <a:pt x="33" y="2023"/>
                    </a:cubicBezTo>
                    <a:cubicBezTo>
                      <a:pt x="0" y="1820"/>
                      <a:pt x="0" y="1567"/>
                      <a:pt x="1" y="1339"/>
                    </a:cubicBezTo>
                    <a:cubicBezTo>
                      <a:pt x="2" y="1111"/>
                      <a:pt x="4" y="860"/>
                      <a:pt x="41" y="655"/>
                    </a:cubicBezTo>
                    <a:cubicBezTo>
                      <a:pt x="78" y="450"/>
                      <a:pt x="145" y="214"/>
                      <a:pt x="225" y="107"/>
                    </a:cubicBezTo>
                    <a:cubicBezTo>
                      <a:pt x="305" y="0"/>
                      <a:pt x="461" y="32"/>
                      <a:pt x="523" y="12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2" name="Freeform 32"/>
              <p:cNvSpPr>
                <a:spLocks noChangeAspect="1"/>
              </p:cNvSpPr>
              <p:nvPr/>
            </p:nvSpPr>
            <p:spPr bwMode="auto">
              <a:xfrm>
                <a:off x="434" y="1007"/>
                <a:ext cx="332" cy="1861"/>
              </a:xfrm>
              <a:custGeom>
                <a:avLst/>
                <a:gdLst>
                  <a:gd name="T0" fmla="*/ 0 w 558"/>
                  <a:gd name="T1" fmla="*/ 1 h 3174"/>
                  <a:gd name="T2" fmla="*/ 1 w 558"/>
                  <a:gd name="T3" fmla="*/ 1 h 3174"/>
                  <a:gd name="T4" fmla="*/ 1 w 558"/>
                  <a:gd name="T5" fmla="*/ 1 h 3174"/>
                  <a:gd name="T6" fmla="*/ 1 w 558"/>
                  <a:gd name="T7" fmla="*/ 1 h 3174"/>
                  <a:gd name="T8" fmla="*/ 1 w 558"/>
                  <a:gd name="T9" fmla="*/ 1 h 3174"/>
                  <a:gd name="T10" fmla="*/ 1 w 558"/>
                  <a:gd name="T11" fmla="*/ 1 h 3174"/>
                  <a:gd name="T12" fmla="*/ 1 w 558"/>
                  <a:gd name="T13" fmla="*/ 1 h 3174"/>
                  <a:gd name="T14" fmla="*/ 1 w 558"/>
                  <a:gd name="T15" fmla="*/ 1 h 3174"/>
                  <a:gd name="T16" fmla="*/ 1 w 558"/>
                  <a:gd name="T17" fmla="*/ 1 h 3174"/>
                  <a:gd name="T18" fmla="*/ 1 w 558"/>
                  <a:gd name="T19" fmla="*/ 1 h 3174"/>
                  <a:gd name="T20" fmla="*/ 1 w 558"/>
                  <a:gd name="T21" fmla="*/ 1 h 3174"/>
                  <a:gd name="T22" fmla="*/ 1 w 558"/>
                  <a:gd name="T23" fmla="*/ 1 h 3174"/>
                  <a:gd name="T24" fmla="*/ 1 w 558"/>
                  <a:gd name="T25" fmla="*/ 1 h 3174"/>
                  <a:gd name="T26" fmla="*/ 1 w 558"/>
                  <a:gd name="T27" fmla="*/ 1 h 3174"/>
                  <a:gd name="T28" fmla="*/ 1 w 558"/>
                  <a:gd name="T29" fmla="*/ 0 h 317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8"/>
                  <a:gd name="T46" fmla="*/ 0 h 3174"/>
                  <a:gd name="T47" fmla="*/ 558 w 558"/>
                  <a:gd name="T48" fmla="*/ 3174 h 317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8" h="3174">
                    <a:moveTo>
                      <a:pt x="0" y="3174"/>
                    </a:moveTo>
                    <a:cubicBezTo>
                      <a:pt x="16" y="3160"/>
                      <a:pt x="41" y="3114"/>
                      <a:pt x="95" y="3090"/>
                    </a:cubicBezTo>
                    <a:cubicBezTo>
                      <a:pt x="149" y="3066"/>
                      <a:pt x="254" y="3050"/>
                      <a:pt x="326" y="3027"/>
                    </a:cubicBezTo>
                    <a:cubicBezTo>
                      <a:pt x="398" y="3004"/>
                      <a:pt x="491" y="2965"/>
                      <a:pt x="528" y="2949"/>
                    </a:cubicBezTo>
                    <a:lnTo>
                      <a:pt x="546" y="2932"/>
                    </a:lnTo>
                    <a:lnTo>
                      <a:pt x="555" y="2910"/>
                    </a:lnTo>
                    <a:cubicBezTo>
                      <a:pt x="552" y="2814"/>
                      <a:pt x="534" y="2575"/>
                      <a:pt x="525" y="2355"/>
                    </a:cubicBezTo>
                    <a:cubicBezTo>
                      <a:pt x="516" y="2135"/>
                      <a:pt x="505" y="1834"/>
                      <a:pt x="503" y="1591"/>
                    </a:cubicBezTo>
                    <a:cubicBezTo>
                      <a:pt x="501" y="1348"/>
                      <a:pt x="506" y="1114"/>
                      <a:pt x="515" y="897"/>
                    </a:cubicBezTo>
                    <a:cubicBezTo>
                      <a:pt x="524" y="680"/>
                      <a:pt x="552" y="394"/>
                      <a:pt x="558" y="289"/>
                    </a:cubicBezTo>
                    <a:lnTo>
                      <a:pt x="552" y="264"/>
                    </a:lnTo>
                    <a:lnTo>
                      <a:pt x="530" y="244"/>
                    </a:lnTo>
                    <a:cubicBezTo>
                      <a:pt x="494" y="227"/>
                      <a:pt x="411" y="188"/>
                      <a:pt x="338" y="162"/>
                    </a:cubicBezTo>
                    <a:cubicBezTo>
                      <a:pt x="265" y="136"/>
                      <a:pt x="149" y="113"/>
                      <a:pt x="93" y="86"/>
                    </a:cubicBezTo>
                    <a:cubicBezTo>
                      <a:pt x="37" y="59"/>
                      <a:pt x="21" y="18"/>
                      <a:pt x="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3" name="Freeform 33"/>
              <p:cNvSpPr>
                <a:spLocks noChangeAspect="1"/>
              </p:cNvSpPr>
              <p:nvPr/>
            </p:nvSpPr>
            <p:spPr bwMode="auto">
              <a:xfrm>
                <a:off x="5580" y="1493"/>
                <a:ext cx="51" cy="886"/>
              </a:xfrm>
              <a:custGeom>
                <a:avLst/>
                <a:gdLst>
                  <a:gd name="T0" fmla="*/ 2 w 44"/>
                  <a:gd name="T1" fmla="*/ 0 h 760"/>
                  <a:gd name="T2" fmla="*/ 24590 w 44"/>
                  <a:gd name="T3" fmla="*/ 155606 h 760"/>
                  <a:gd name="T4" fmla="*/ 39599 w 44"/>
                  <a:gd name="T5" fmla="*/ 423887 h 760"/>
                  <a:gd name="T6" fmla="*/ 27766 w 44"/>
                  <a:gd name="T7" fmla="*/ 670795 h 760"/>
                  <a:gd name="T8" fmla="*/ 0 w 44"/>
                  <a:gd name="T9" fmla="*/ 881816 h 7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760"/>
                  <a:gd name="T17" fmla="*/ 44 w 44"/>
                  <a:gd name="T18" fmla="*/ 760 h 7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760">
                    <a:moveTo>
                      <a:pt x="2" y="0"/>
                    </a:moveTo>
                    <a:cubicBezTo>
                      <a:pt x="6" y="22"/>
                      <a:pt x="21" y="74"/>
                      <a:pt x="28" y="135"/>
                    </a:cubicBezTo>
                    <a:cubicBezTo>
                      <a:pt x="35" y="196"/>
                      <a:pt x="44" y="291"/>
                      <a:pt x="44" y="365"/>
                    </a:cubicBezTo>
                    <a:cubicBezTo>
                      <a:pt x="44" y="439"/>
                      <a:pt x="37" y="512"/>
                      <a:pt x="30" y="578"/>
                    </a:cubicBezTo>
                    <a:cubicBezTo>
                      <a:pt x="23" y="644"/>
                      <a:pt x="6" y="722"/>
                      <a:pt x="0" y="76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4" name="Freeform 34"/>
              <p:cNvSpPr>
                <a:spLocks noChangeAspect="1"/>
              </p:cNvSpPr>
              <p:nvPr/>
            </p:nvSpPr>
            <p:spPr bwMode="auto">
              <a:xfrm>
                <a:off x="5603" y="1508"/>
                <a:ext cx="46" cy="857"/>
              </a:xfrm>
              <a:custGeom>
                <a:avLst/>
                <a:gdLst>
                  <a:gd name="T0" fmla="*/ 0 w 39"/>
                  <a:gd name="T1" fmla="*/ 0 h 735"/>
                  <a:gd name="T2" fmla="*/ 48143 w 39"/>
                  <a:gd name="T3" fmla="*/ 160952 h 735"/>
                  <a:gd name="T4" fmla="*/ 76892 w 39"/>
                  <a:gd name="T5" fmla="*/ 414481 h 735"/>
                  <a:gd name="T6" fmla="*/ 55271 w 39"/>
                  <a:gd name="T7" fmla="*/ 663207 h 735"/>
                  <a:gd name="T8" fmla="*/ 1 w 39"/>
                  <a:gd name="T9" fmla="*/ 858657 h 7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735"/>
                  <a:gd name="T17" fmla="*/ 39 w 39"/>
                  <a:gd name="T18" fmla="*/ 735 h 7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735">
                    <a:moveTo>
                      <a:pt x="0" y="0"/>
                    </a:moveTo>
                    <a:cubicBezTo>
                      <a:pt x="4" y="23"/>
                      <a:pt x="19" y="79"/>
                      <a:pt x="25" y="138"/>
                    </a:cubicBezTo>
                    <a:cubicBezTo>
                      <a:pt x="31" y="197"/>
                      <a:pt x="39" y="283"/>
                      <a:pt x="39" y="354"/>
                    </a:cubicBezTo>
                    <a:cubicBezTo>
                      <a:pt x="39" y="425"/>
                      <a:pt x="34" y="504"/>
                      <a:pt x="28" y="567"/>
                    </a:cubicBezTo>
                    <a:cubicBezTo>
                      <a:pt x="22" y="630"/>
                      <a:pt x="7" y="700"/>
                      <a:pt x="1" y="73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5" name="Freeform 35"/>
              <p:cNvSpPr>
                <a:spLocks noChangeAspect="1"/>
              </p:cNvSpPr>
              <p:nvPr/>
            </p:nvSpPr>
            <p:spPr bwMode="auto">
              <a:xfrm>
                <a:off x="3395" y="999"/>
                <a:ext cx="1116" cy="1884"/>
              </a:xfrm>
              <a:custGeom>
                <a:avLst/>
                <a:gdLst>
                  <a:gd name="T0" fmla="*/ 1 w 1875"/>
                  <a:gd name="T1" fmla="*/ 1 h 3187"/>
                  <a:gd name="T2" fmla="*/ 1 w 1875"/>
                  <a:gd name="T3" fmla="*/ 1 h 3187"/>
                  <a:gd name="T4" fmla="*/ 1 w 1875"/>
                  <a:gd name="T5" fmla="*/ 1 h 3187"/>
                  <a:gd name="T6" fmla="*/ 1 w 1875"/>
                  <a:gd name="T7" fmla="*/ 1 h 3187"/>
                  <a:gd name="T8" fmla="*/ 1 w 1875"/>
                  <a:gd name="T9" fmla="*/ 1 h 3187"/>
                  <a:gd name="T10" fmla="*/ 1 w 1875"/>
                  <a:gd name="T11" fmla="*/ 1 h 3187"/>
                  <a:gd name="T12" fmla="*/ 1 w 1875"/>
                  <a:gd name="T13" fmla="*/ 1 h 3187"/>
                  <a:gd name="T14" fmla="*/ 1 w 1875"/>
                  <a:gd name="T15" fmla="*/ 1 h 3187"/>
                  <a:gd name="T16" fmla="*/ 1 w 1875"/>
                  <a:gd name="T17" fmla="*/ 1 h 3187"/>
                  <a:gd name="T18" fmla="*/ 1 w 1875"/>
                  <a:gd name="T19" fmla="*/ 1 h 3187"/>
                  <a:gd name="T20" fmla="*/ 1 w 1875"/>
                  <a:gd name="T21" fmla="*/ 1 h 3187"/>
                  <a:gd name="T22" fmla="*/ 1 w 1875"/>
                  <a:gd name="T23" fmla="*/ 1 h 3187"/>
                  <a:gd name="T24" fmla="*/ 1 w 1875"/>
                  <a:gd name="T25" fmla="*/ 1 h 3187"/>
                  <a:gd name="T26" fmla="*/ 1 w 1875"/>
                  <a:gd name="T27" fmla="*/ 1 h 3187"/>
                  <a:gd name="T28" fmla="*/ 1 w 1875"/>
                  <a:gd name="T29" fmla="*/ 1 h 3187"/>
                  <a:gd name="T30" fmla="*/ 1 w 1875"/>
                  <a:gd name="T31" fmla="*/ 1 h 3187"/>
                  <a:gd name="T32" fmla="*/ 1 w 1875"/>
                  <a:gd name="T33" fmla="*/ 1 h 3187"/>
                  <a:gd name="T34" fmla="*/ 1 w 1875"/>
                  <a:gd name="T35" fmla="*/ 1 h 3187"/>
                  <a:gd name="T36" fmla="*/ 1 w 1875"/>
                  <a:gd name="T37" fmla="*/ 1 h 3187"/>
                  <a:gd name="T38" fmla="*/ 1 w 1875"/>
                  <a:gd name="T39" fmla="*/ 1 h 3187"/>
                  <a:gd name="T40" fmla="*/ 1 w 1875"/>
                  <a:gd name="T41" fmla="*/ 1 h 3187"/>
                  <a:gd name="T42" fmla="*/ 1 w 1875"/>
                  <a:gd name="T43" fmla="*/ 1 h 3187"/>
                  <a:gd name="T44" fmla="*/ 1 w 1875"/>
                  <a:gd name="T45" fmla="*/ 1 h 3187"/>
                  <a:gd name="T46" fmla="*/ 1 w 1875"/>
                  <a:gd name="T47" fmla="*/ 1 h 3187"/>
                  <a:gd name="T48" fmla="*/ 1 w 1875"/>
                  <a:gd name="T49" fmla="*/ 1 h 31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75"/>
                  <a:gd name="T76" fmla="*/ 0 h 3187"/>
                  <a:gd name="T77" fmla="*/ 1875 w 1875"/>
                  <a:gd name="T78" fmla="*/ 3187 h 31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75" h="3187">
                    <a:moveTo>
                      <a:pt x="157" y="1535"/>
                    </a:moveTo>
                    <a:cubicBezTo>
                      <a:pt x="160" y="1666"/>
                      <a:pt x="147" y="1762"/>
                      <a:pt x="138" y="1887"/>
                    </a:cubicBezTo>
                    <a:cubicBezTo>
                      <a:pt x="129" y="2012"/>
                      <a:pt x="116" y="2177"/>
                      <a:pt x="104" y="2285"/>
                    </a:cubicBezTo>
                    <a:cubicBezTo>
                      <a:pt x="92" y="2393"/>
                      <a:pt x="81" y="2443"/>
                      <a:pt x="64" y="2538"/>
                    </a:cubicBezTo>
                    <a:cubicBezTo>
                      <a:pt x="47" y="2633"/>
                      <a:pt x="2" y="2779"/>
                      <a:pt x="1" y="2853"/>
                    </a:cubicBezTo>
                    <a:cubicBezTo>
                      <a:pt x="0" y="2927"/>
                      <a:pt x="25" y="2954"/>
                      <a:pt x="60" y="2985"/>
                    </a:cubicBezTo>
                    <a:cubicBezTo>
                      <a:pt x="95" y="3016"/>
                      <a:pt x="124" y="3020"/>
                      <a:pt x="214" y="3041"/>
                    </a:cubicBezTo>
                    <a:cubicBezTo>
                      <a:pt x="304" y="3062"/>
                      <a:pt x="430" y="3087"/>
                      <a:pt x="603" y="3110"/>
                    </a:cubicBezTo>
                    <a:cubicBezTo>
                      <a:pt x="776" y="3133"/>
                      <a:pt x="1093" y="3187"/>
                      <a:pt x="1251" y="3180"/>
                    </a:cubicBezTo>
                    <a:cubicBezTo>
                      <a:pt x="1409" y="3173"/>
                      <a:pt x="1474" y="3147"/>
                      <a:pt x="1551" y="3066"/>
                    </a:cubicBezTo>
                    <a:cubicBezTo>
                      <a:pt x="1628" y="2985"/>
                      <a:pt x="1667" y="2847"/>
                      <a:pt x="1714" y="2693"/>
                    </a:cubicBezTo>
                    <a:cubicBezTo>
                      <a:pt x="1761" y="2539"/>
                      <a:pt x="1803" y="2329"/>
                      <a:pt x="1830" y="2144"/>
                    </a:cubicBezTo>
                    <a:cubicBezTo>
                      <a:pt x="1857" y="1959"/>
                      <a:pt x="1875" y="1772"/>
                      <a:pt x="1875" y="1580"/>
                    </a:cubicBezTo>
                    <a:cubicBezTo>
                      <a:pt x="1875" y="1388"/>
                      <a:pt x="1855" y="1165"/>
                      <a:pt x="1832" y="994"/>
                    </a:cubicBezTo>
                    <a:cubicBezTo>
                      <a:pt x="1809" y="823"/>
                      <a:pt x="1778" y="694"/>
                      <a:pt x="1736" y="553"/>
                    </a:cubicBezTo>
                    <a:cubicBezTo>
                      <a:pt x="1694" y="412"/>
                      <a:pt x="1653" y="236"/>
                      <a:pt x="1578" y="146"/>
                    </a:cubicBezTo>
                    <a:cubicBezTo>
                      <a:pt x="1503" y="56"/>
                      <a:pt x="1444" y="22"/>
                      <a:pt x="1284" y="11"/>
                    </a:cubicBezTo>
                    <a:cubicBezTo>
                      <a:pt x="1124" y="0"/>
                      <a:pt x="799" y="56"/>
                      <a:pt x="615" y="81"/>
                    </a:cubicBezTo>
                    <a:cubicBezTo>
                      <a:pt x="431" y="106"/>
                      <a:pt x="274" y="134"/>
                      <a:pt x="180" y="159"/>
                    </a:cubicBezTo>
                    <a:cubicBezTo>
                      <a:pt x="86" y="184"/>
                      <a:pt x="76" y="199"/>
                      <a:pt x="49" y="230"/>
                    </a:cubicBezTo>
                    <a:cubicBezTo>
                      <a:pt x="22" y="261"/>
                      <a:pt x="14" y="289"/>
                      <a:pt x="15" y="344"/>
                    </a:cubicBezTo>
                    <a:cubicBezTo>
                      <a:pt x="16" y="399"/>
                      <a:pt x="38" y="474"/>
                      <a:pt x="54" y="560"/>
                    </a:cubicBezTo>
                    <a:cubicBezTo>
                      <a:pt x="70" y="646"/>
                      <a:pt x="93" y="751"/>
                      <a:pt x="108" y="858"/>
                    </a:cubicBezTo>
                    <a:cubicBezTo>
                      <a:pt x="123" y="965"/>
                      <a:pt x="133" y="1092"/>
                      <a:pt x="141" y="1205"/>
                    </a:cubicBezTo>
                    <a:cubicBezTo>
                      <a:pt x="149" y="1318"/>
                      <a:pt x="154" y="1466"/>
                      <a:pt x="157" y="153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6" name="Freeform 36"/>
              <p:cNvSpPr>
                <a:spLocks noChangeAspect="1"/>
              </p:cNvSpPr>
              <p:nvPr/>
            </p:nvSpPr>
            <p:spPr bwMode="auto">
              <a:xfrm>
                <a:off x="204" y="1260"/>
                <a:ext cx="79" cy="1358"/>
              </a:xfrm>
              <a:custGeom>
                <a:avLst/>
                <a:gdLst>
                  <a:gd name="T0" fmla="*/ 1 w 132"/>
                  <a:gd name="T1" fmla="*/ 1 h 2324"/>
                  <a:gd name="T2" fmla="*/ 1 w 132"/>
                  <a:gd name="T3" fmla="*/ 1 h 2324"/>
                  <a:gd name="T4" fmla="*/ 0 w 132"/>
                  <a:gd name="T5" fmla="*/ 1 h 2324"/>
                  <a:gd name="T6" fmla="*/ 1 w 132"/>
                  <a:gd name="T7" fmla="*/ 1 h 2324"/>
                  <a:gd name="T8" fmla="*/ 1 w 132"/>
                  <a:gd name="T9" fmla="*/ 0 h 2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2324"/>
                  <a:gd name="T17" fmla="*/ 132 w 132"/>
                  <a:gd name="T18" fmla="*/ 2324 h 23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2324">
                    <a:moveTo>
                      <a:pt x="132" y="2324"/>
                    </a:moveTo>
                    <a:cubicBezTo>
                      <a:pt x="115" y="2233"/>
                      <a:pt x="54" y="1968"/>
                      <a:pt x="32" y="1776"/>
                    </a:cubicBezTo>
                    <a:cubicBezTo>
                      <a:pt x="10" y="1584"/>
                      <a:pt x="0" y="1381"/>
                      <a:pt x="0" y="1172"/>
                    </a:cubicBezTo>
                    <a:cubicBezTo>
                      <a:pt x="0" y="963"/>
                      <a:pt x="10" y="719"/>
                      <a:pt x="32" y="524"/>
                    </a:cubicBezTo>
                    <a:cubicBezTo>
                      <a:pt x="54" y="329"/>
                      <a:pt x="111" y="109"/>
                      <a:pt x="13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7" name="Freeform 37"/>
              <p:cNvSpPr>
                <a:spLocks noChangeAspect="1"/>
              </p:cNvSpPr>
              <p:nvPr/>
            </p:nvSpPr>
            <p:spPr bwMode="auto">
              <a:xfrm>
                <a:off x="454" y="1687"/>
                <a:ext cx="48" cy="502"/>
              </a:xfrm>
              <a:custGeom>
                <a:avLst/>
                <a:gdLst>
                  <a:gd name="T0" fmla="*/ 0 w 80"/>
                  <a:gd name="T1" fmla="*/ 1 h 876"/>
                  <a:gd name="T2" fmla="*/ 1 w 80"/>
                  <a:gd name="T3" fmla="*/ 1 h 876"/>
                  <a:gd name="T4" fmla="*/ 1 w 80"/>
                  <a:gd name="T5" fmla="*/ 1 h 876"/>
                  <a:gd name="T6" fmla="*/ 1 w 80"/>
                  <a:gd name="T7" fmla="*/ 0 h 8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876"/>
                  <a:gd name="T14" fmla="*/ 80 w 80"/>
                  <a:gd name="T15" fmla="*/ 876 h 8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876">
                    <a:moveTo>
                      <a:pt x="0" y="876"/>
                    </a:moveTo>
                    <a:lnTo>
                      <a:pt x="76" y="854"/>
                    </a:lnTo>
                    <a:lnTo>
                      <a:pt x="80" y="22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8" name="Freeform 38"/>
              <p:cNvSpPr>
                <a:spLocks noChangeAspect="1"/>
              </p:cNvSpPr>
              <p:nvPr/>
            </p:nvSpPr>
            <p:spPr bwMode="auto">
              <a:xfrm>
                <a:off x="756" y="240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9" name="Freeform 39"/>
              <p:cNvSpPr>
                <a:spLocks noChangeAspect="1"/>
              </p:cNvSpPr>
              <p:nvPr/>
            </p:nvSpPr>
            <p:spPr bwMode="auto">
              <a:xfrm>
                <a:off x="4411" y="2377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0" name="Freeform 40"/>
              <p:cNvSpPr>
                <a:spLocks noChangeAspect="1"/>
              </p:cNvSpPr>
              <p:nvPr/>
            </p:nvSpPr>
            <p:spPr bwMode="auto">
              <a:xfrm>
                <a:off x="4229" y="2868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1" name="Freeform 41"/>
              <p:cNvSpPr>
                <a:spLocks noChangeAspect="1"/>
              </p:cNvSpPr>
              <p:nvPr/>
            </p:nvSpPr>
            <p:spPr bwMode="auto">
              <a:xfrm>
                <a:off x="5001" y="2523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2" name="Freeform 42"/>
              <p:cNvSpPr>
                <a:spLocks noChangeAspect="1"/>
              </p:cNvSpPr>
              <p:nvPr/>
            </p:nvSpPr>
            <p:spPr bwMode="auto">
              <a:xfrm>
                <a:off x="4973" y="2379"/>
                <a:ext cx="617" cy="657"/>
              </a:xfrm>
              <a:custGeom>
                <a:avLst/>
                <a:gdLst>
                  <a:gd name="T0" fmla="*/ 1 w 1038"/>
                  <a:gd name="T1" fmla="*/ 0 h 1102"/>
                  <a:gd name="T2" fmla="*/ 1 w 1038"/>
                  <a:gd name="T3" fmla="*/ 1 h 1102"/>
                  <a:gd name="T4" fmla="*/ 1 w 1038"/>
                  <a:gd name="T5" fmla="*/ 1 h 1102"/>
                  <a:gd name="T6" fmla="*/ 1 w 1038"/>
                  <a:gd name="T7" fmla="*/ 1 h 1102"/>
                  <a:gd name="T8" fmla="*/ 1 w 1038"/>
                  <a:gd name="T9" fmla="*/ 1 h 1102"/>
                  <a:gd name="T10" fmla="*/ 0 w 1038"/>
                  <a:gd name="T11" fmla="*/ 1 h 110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8"/>
                  <a:gd name="T19" fmla="*/ 0 h 1102"/>
                  <a:gd name="T20" fmla="*/ 1038 w 1038"/>
                  <a:gd name="T21" fmla="*/ 1102 h 110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8" h="1102">
                    <a:moveTo>
                      <a:pt x="1038" y="0"/>
                    </a:moveTo>
                    <a:cubicBezTo>
                      <a:pt x="1020" y="60"/>
                      <a:pt x="978" y="245"/>
                      <a:pt x="931" y="360"/>
                    </a:cubicBezTo>
                    <a:cubicBezTo>
                      <a:pt x="884" y="475"/>
                      <a:pt x="813" y="604"/>
                      <a:pt x="754" y="690"/>
                    </a:cubicBezTo>
                    <a:cubicBezTo>
                      <a:pt x="695" y="776"/>
                      <a:pt x="650" y="822"/>
                      <a:pt x="577" y="876"/>
                    </a:cubicBezTo>
                    <a:cubicBezTo>
                      <a:pt x="504" y="930"/>
                      <a:pt x="412" y="979"/>
                      <a:pt x="316" y="1017"/>
                    </a:cubicBezTo>
                    <a:cubicBezTo>
                      <a:pt x="220" y="1055"/>
                      <a:pt x="66" y="1084"/>
                      <a:pt x="0" y="110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3" name="Freeform 43"/>
              <p:cNvSpPr>
                <a:spLocks noChangeAspect="1"/>
              </p:cNvSpPr>
              <p:nvPr/>
            </p:nvSpPr>
            <p:spPr bwMode="auto">
              <a:xfrm>
                <a:off x="5028" y="252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4" name="Freeform 44"/>
              <p:cNvSpPr>
                <a:spLocks noChangeAspect="1"/>
              </p:cNvSpPr>
              <p:nvPr/>
            </p:nvSpPr>
            <p:spPr bwMode="auto">
              <a:xfrm>
                <a:off x="3863" y="2477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5" name="Freeform 45"/>
              <p:cNvSpPr>
                <a:spLocks noChangeAspect="1"/>
              </p:cNvSpPr>
              <p:nvPr/>
            </p:nvSpPr>
            <p:spPr bwMode="auto">
              <a:xfrm>
                <a:off x="1505" y="2791"/>
                <a:ext cx="2561" cy="257"/>
              </a:xfrm>
              <a:custGeom>
                <a:avLst/>
                <a:gdLst>
                  <a:gd name="T0" fmla="*/ 1 w 4303"/>
                  <a:gd name="T1" fmla="*/ 1 h 432"/>
                  <a:gd name="T2" fmla="*/ 1 w 4303"/>
                  <a:gd name="T3" fmla="*/ 1 h 432"/>
                  <a:gd name="T4" fmla="*/ 1 w 4303"/>
                  <a:gd name="T5" fmla="*/ 1 h 432"/>
                  <a:gd name="T6" fmla="*/ 1 w 4303"/>
                  <a:gd name="T7" fmla="*/ 1 h 432"/>
                  <a:gd name="T8" fmla="*/ 1 w 4303"/>
                  <a:gd name="T9" fmla="*/ 1 h 432"/>
                  <a:gd name="T10" fmla="*/ 1 w 4303"/>
                  <a:gd name="T11" fmla="*/ 1 h 432"/>
                  <a:gd name="T12" fmla="*/ 1 w 4303"/>
                  <a:gd name="T13" fmla="*/ 1 h 432"/>
                  <a:gd name="T14" fmla="*/ 1 w 4303"/>
                  <a:gd name="T15" fmla="*/ 1 h 432"/>
                  <a:gd name="T16" fmla="*/ 1 w 4303"/>
                  <a:gd name="T17" fmla="*/ 0 h 432"/>
                  <a:gd name="T18" fmla="*/ 1 w 4303"/>
                  <a:gd name="T19" fmla="*/ 1 h 432"/>
                  <a:gd name="T20" fmla="*/ 1 w 4303"/>
                  <a:gd name="T21" fmla="*/ 1 h 432"/>
                  <a:gd name="T22" fmla="*/ 0 w 4303"/>
                  <a:gd name="T23" fmla="*/ 1 h 432"/>
                  <a:gd name="T24" fmla="*/ 1 w 4303"/>
                  <a:gd name="T25" fmla="*/ 1 h 432"/>
                  <a:gd name="T26" fmla="*/ 1 w 4303"/>
                  <a:gd name="T27" fmla="*/ 1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3"/>
                  <a:gd name="T43" fmla="*/ 0 h 432"/>
                  <a:gd name="T44" fmla="*/ 4303 w 4303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3" h="432">
                    <a:moveTo>
                      <a:pt x="4293" y="416"/>
                    </a:moveTo>
                    <a:cubicBezTo>
                      <a:pt x="4293" y="398"/>
                      <a:pt x="4303" y="338"/>
                      <a:pt x="4292" y="310"/>
                    </a:cubicBezTo>
                    <a:cubicBezTo>
                      <a:pt x="4281" y="282"/>
                      <a:pt x="4268" y="265"/>
                      <a:pt x="4229" y="249"/>
                    </a:cubicBezTo>
                    <a:cubicBezTo>
                      <a:pt x="4190" y="233"/>
                      <a:pt x="4211" y="241"/>
                      <a:pt x="4055" y="215"/>
                    </a:cubicBezTo>
                    <a:cubicBezTo>
                      <a:pt x="3899" y="189"/>
                      <a:pt x="3516" y="123"/>
                      <a:pt x="3291" y="90"/>
                    </a:cubicBezTo>
                    <a:cubicBezTo>
                      <a:pt x="3066" y="57"/>
                      <a:pt x="2919" y="32"/>
                      <a:pt x="2703" y="18"/>
                    </a:cubicBezTo>
                    <a:cubicBezTo>
                      <a:pt x="2487" y="4"/>
                      <a:pt x="2366" y="6"/>
                      <a:pt x="1993" y="3"/>
                    </a:cubicBezTo>
                    <a:cubicBezTo>
                      <a:pt x="1620" y="0"/>
                      <a:pt x="756" y="2"/>
                      <a:pt x="465" y="2"/>
                    </a:cubicBezTo>
                    <a:lnTo>
                      <a:pt x="245" y="0"/>
                    </a:lnTo>
                    <a:cubicBezTo>
                      <a:pt x="197" y="7"/>
                      <a:pt x="213" y="2"/>
                      <a:pt x="174" y="44"/>
                    </a:cubicBezTo>
                    <a:cubicBezTo>
                      <a:pt x="135" y="86"/>
                      <a:pt x="38" y="213"/>
                      <a:pt x="9" y="252"/>
                    </a:cubicBezTo>
                    <a:lnTo>
                      <a:pt x="0" y="281"/>
                    </a:lnTo>
                    <a:cubicBezTo>
                      <a:pt x="1" y="297"/>
                      <a:pt x="4" y="325"/>
                      <a:pt x="12" y="350"/>
                    </a:cubicBezTo>
                    <a:cubicBezTo>
                      <a:pt x="20" y="375"/>
                      <a:pt x="41" y="415"/>
                      <a:pt x="48" y="43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6" name="Freeform 46"/>
              <p:cNvSpPr>
                <a:spLocks noChangeAspect="1"/>
              </p:cNvSpPr>
              <p:nvPr/>
            </p:nvSpPr>
            <p:spPr bwMode="auto">
              <a:xfrm>
                <a:off x="3878" y="2898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7" name="Freeform 47"/>
              <p:cNvSpPr>
                <a:spLocks noChangeAspect="1"/>
              </p:cNvSpPr>
              <p:nvPr/>
            </p:nvSpPr>
            <p:spPr bwMode="auto">
              <a:xfrm>
                <a:off x="2812" y="2812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8" name="Freeform 48"/>
              <p:cNvSpPr>
                <a:spLocks noChangeAspect="1"/>
              </p:cNvSpPr>
              <p:nvPr/>
            </p:nvSpPr>
            <p:spPr bwMode="auto">
              <a:xfrm>
                <a:off x="2669" y="2778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9" name="Freeform 49"/>
              <p:cNvSpPr>
                <a:spLocks noChangeAspect="1"/>
              </p:cNvSpPr>
              <p:nvPr/>
            </p:nvSpPr>
            <p:spPr bwMode="auto">
              <a:xfrm>
                <a:off x="717" y="2965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0" name="Freeform 50"/>
              <p:cNvSpPr>
                <a:spLocks noChangeAspect="1"/>
              </p:cNvSpPr>
              <p:nvPr/>
            </p:nvSpPr>
            <p:spPr bwMode="auto">
              <a:xfrm>
                <a:off x="1812" y="281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1" name="Freeform 51"/>
              <p:cNvSpPr>
                <a:spLocks noChangeAspect="1"/>
              </p:cNvSpPr>
              <p:nvPr/>
            </p:nvSpPr>
            <p:spPr bwMode="auto">
              <a:xfrm>
                <a:off x="519" y="2823"/>
                <a:ext cx="1585" cy="145"/>
              </a:xfrm>
              <a:custGeom>
                <a:avLst/>
                <a:gdLst>
                  <a:gd name="T0" fmla="*/ 1 w 2662"/>
                  <a:gd name="T1" fmla="*/ 1 h 244"/>
                  <a:gd name="T2" fmla="*/ 1 w 2662"/>
                  <a:gd name="T3" fmla="*/ 1 h 244"/>
                  <a:gd name="T4" fmla="*/ 1 w 2662"/>
                  <a:gd name="T5" fmla="*/ 1 h 244"/>
                  <a:gd name="T6" fmla="*/ 1 w 2662"/>
                  <a:gd name="T7" fmla="*/ 1 h 244"/>
                  <a:gd name="T8" fmla="*/ 1 w 2662"/>
                  <a:gd name="T9" fmla="*/ 1 h 244"/>
                  <a:gd name="T10" fmla="*/ 0 w 2662"/>
                  <a:gd name="T11" fmla="*/ 0 h 2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62"/>
                  <a:gd name="T19" fmla="*/ 0 h 244"/>
                  <a:gd name="T20" fmla="*/ 2662 w 2662"/>
                  <a:gd name="T21" fmla="*/ 244 h 2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62" h="244">
                    <a:moveTo>
                      <a:pt x="2662" y="244"/>
                    </a:moveTo>
                    <a:cubicBezTo>
                      <a:pt x="2559" y="241"/>
                      <a:pt x="2314" y="231"/>
                      <a:pt x="2042" y="228"/>
                    </a:cubicBezTo>
                    <a:cubicBezTo>
                      <a:pt x="1770" y="225"/>
                      <a:pt x="1303" y="239"/>
                      <a:pt x="1028" y="224"/>
                    </a:cubicBezTo>
                    <a:cubicBezTo>
                      <a:pt x="753" y="209"/>
                      <a:pt x="541" y="162"/>
                      <a:pt x="392" y="136"/>
                    </a:cubicBezTo>
                    <a:cubicBezTo>
                      <a:pt x="243" y="110"/>
                      <a:pt x="197" y="93"/>
                      <a:pt x="132" y="70"/>
                    </a:cubicBezTo>
                    <a:cubicBezTo>
                      <a:pt x="67" y="47"/>
                      <a:pt x="27" y="15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2" name="Freeform 52"/>
              <p:cNvSpPr>
                <a:spLocks noChangeAspect="1"/>
              </p:cNvSpPr>
              <p:nvPr/>
            </p:nvSpPr>
            <p:spPr bwMode="auto">
              <a:xfrm>
                <a:off x="1635" y="2811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3" name="Freeform 53"/>
              <p:cNvSpPr>
                <a:spLocks noChangeAspect="1"/>
              </p:cNvSpPr>
              <p:nvPr/>
            </p:nvSpPr>
            <p:spPr bwMode="auto">
              <a:xfrm>
                <a:off x="793" y="2794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4" name="Freeform 54"/>
              <p:cNvSpPr>
                <a:spLocks noChangeAspect="1"/>
              </p:cNvSpPr>
              <p:nvPr/>
            </p:nvSpPr>
            <p:spPr bwMode="auto">
              <a:xfrm>
                <a:off x="281" y="2619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5" name="Freeform 55"/>
              <p:cNvSpPr>
                <a:spLocks noChangeAspect="1"/>
              </p:cNvSpPr>
              <p:nvPr/>
            </p:nvSpPr>
            <p:spPr bwMode="auto">
              <a:xfrm>
                <a:off x="415" y="2890"/>
                <a:ext cx="88" cy="31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6" name="Freeform 56"/>
              <p:cNvSpPr>
                <a:spLocks noChangeAspect="1"/>
              </p:cNvSpPr>
              <p:nvPr/>
            </p:nvSpPr>
            <p:spPr bwMode="auto">
              <a:xfrm>
                <a:off x="222" y="2513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7" name="Freeform 57"/>
              <p:cNvSpPr>
                <a:spLocks noChangeAspect="1"/>
              </p:cNvSpPr>
              <p:nvPr/>
            </p:nvSpPr>
            <p:spPr bwMode="auto">
              <a:xfrm>
                <a:off x="200" y="2361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8" name="Freeform 58"/>
              <p:cNvSpPr>
                <a:spLocks noChangeAspect="1"/>
              </p:cNvSpPr>
              <p:nvPr/>
            </p:nvSpPr>
            <p:spPr bwMode="auto">
              <a:xfrm flipV="1">
                <a:off x="756" y="94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29" name="Freeform 59"/>
              <p:cNvSpPr>
                <a:spLocks noChangeAspect="1"/>
              </p:cNvSpPr>
              <p:nvPr/>
            </p:nvSpPr>
            <p:spPr bwMode="auto">
              <a:xfrm flipV="1">
                <a:off x="4411" y="1015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0" name="Freeform 60"/>
              <p:cNvSpPr>
                <a:spLocks noChangeAspect="1"/>
              </p:cNvSpPr>
              <p:nvPr/>
            </p:nvSpPr>
            <p:spPr bwMode="auto">
              <a:xfrm flipV="1">
                <a:off x="4229" y="937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1" name="Freeform 61"/>
              <p:cNvSpPr>
                <a:spLocks noChangeAspect="1"/>
              </p:cNvSpPr>
              <p:nvPr/>
            </p:nvSpPr>
            <p:spPr bwMode="auto">
              <a:xfrm flipV="1">
                <a:off x="5001" y="884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2" name="Freeform 62"/>
              <p:cNvSpPr>
                <a:spLocks noChangeAspect="1"/>
              </p:cNvSpPr>
              <p:nvPr/>
            </p:nvSpPr>
            <p:spPr bwMode="auto">
              <a:xfrm>
                <a:off x="4973" y="845"/>
                <a:ext cx="616" cy="651"/>
              </a:xfrm>
              <a:custGeom>
                <a:avLst/>
                <a:gdLst>
                  <a:gd name="T0" fmla="*/ 581776 w 529"/>
                  <a:gd name="T1" fmla="*/ 669570 h 558"/>
                  <a:gd name="T2" fmla="*/ 523085 w 529"/>
                  <a:gd name="T3" fmla="*/ 455208 h 558"/>
                  <a:gd name="T4" fmla="*/ 423919 w 529"/>
                  <a:gd name="T5" fmla="*/ 252685 h 558"/>
                  <a:gd name="T6" fmla="*/ 325279 w 529"/>
                  <a:gd name="T7" fmla="*/ 137059 h 558"/>
                  <a:gd name="T8" fmla="*/ 177637 w 529"/>
                  <a:gd name="T9" fmla="*/ 50786 h 558"/>
                  <a:gd name="T10" fmla="*/ 0 w 529"/>
                  <a:gd name="T11" fmla="*/ 0 h 5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558"/>
                  <a:gd name="T20" fmla="*/ 529 w 529"/>
                  <a:gd name="T21" fmla="*/ 558 h 5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558">
                    <a:moveTo>
                      <a:pt x="529" y="558"/>
                    </a:moveTo>
                    <a:cubicBezTo>
                      <a:pt x="520" y="528"/>
                      <a:pt x="499" y="437"/>
                      <a:pt x="475" y="379"/>
                    </a:cubicBezTo>
                    <a:cubicBezTo>
                      <a:pt x="451" y="321"/>
                      <a:pt x="415" y="254"/>
                      <a:pt x="385" y="210"/>
                    </a:cubicBezTo>
                    <a:cubicBezTo>
                      <a:pt x="355" y="167"/>
                      <a:pt x="332" y="143"/>
                      <a:pt x="295" y="115"/>
                    </a:cubicBezTo>
                    <a:cubicBezTo>
                      <a:pt x="257" y="88"/>
                      <a:pt x="210" y="63"/>
                      <a:pt x="161" y="43"/>
                    </a:cubicBezTo>
                    <a:cubicBezTo>
                      <a:pt x="112" y="24"/>
                      <a:pt x="34" y="9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3" name="Freeform 63"/>
              <p:cNvSpPr>
                <a:spLocks noChangeAspect="1"/>
              </p:cNvSpPr>
              <p:nvPr/>
            </p:nvSpPr>
            <p:spPr bwMode="auto">
              <a:xfrm flipV="1">
                <a:off x="5028" y="88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4" name="Freeform 64"/>
              <p:cNvSpPr>
                <a:spLocks noChangeAspect="1"/>
              </p:cNvSpPr>
              <p:nvPr/>
            </p:nvSpPr>
            <p:spPr bwMode="auto">
              <a:xfrm flipV="1">
                <a:off x="3863" y="866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5" name="Freeform 65"/>
              <p:cNvSpPr>
                <a:spLocks noChangeAspect="1"/>
              </p:cNvSpPr>
              <p:nvPr/>
            </p:nvSpPr>
            <p:spPr bwMode="auto">
              <a:xfrm>
                <a:off x="1505" y="834"/>
                <a:ext cx="2559" cy="257"/>
              </a:xfrm>
              <a:custGeom>
                <a:avLst/>
                <a:gdLst>
                  <a:gd name="T0" fmla="*/ 1 w 4302"/>
                  <a:gd name="T1" fmla="*/ 1 h 432"/>
                  <a:gd name="T2" fmla="*/ 1 w 4302"/>
                  <a:gd name="T3" fmla="*/ 1 h 432"/>
                  <a:gd name="T4" fmla="*/ 1 w 4302"/>
                  <a:gd name="T5" fmla="*/ 1 h 432"/>
                  <a:gd name="T6" fmla="*/ 1 w 4302"/>
                  <a:gd name="T7" fmla="*/ 1 h 432"/>
                  <a:gd name="T8" fmla="*/ 1 w 4302"/>
                  <a:gd name="T9" fmla="*/ 1 h 432"/>
                  <a:gd name="T10" fmla="*/ 1 w 4302"/>
                  <a:gd name="T11" fmla="*/ 1 h 432"/>
                  <a:gd name="T12" fmla="*/ 1 w 4302"/>
                  <a:gd name="T13" fmla="*/ 1 h 432"/>
                  <a:gd name="T14" fmla="*/ 1 w 4302"/>
                  <a:gd name="T15" fmla="*/ 1 h 432"/>
                  <a:gd name="T16" fmla="*/ 1 w 4302"/>
                  <a:gd name="T17" fmla="*/ 1 h 432"/>
                  <a:gd name="T18" fmla="*/ 1 w 4302"/>
                  <a:gd name="T19" fmla="*/ 1 h 432"/>
                  <a:gd name="T20" fmla="*/ 1 w 4302"/>
                  <a:gd name="T21" fmla="*/ 1 h 432"/>
                  <a:gd name="T22" fmla="*/ 0 w 4302"/>
                  <a:gd name="T23" fmla="*/ 1 h 432"/>
                  <a:gd name="T24" fmla="*/ 1 w 4302"/>
                  <a:gd name="T25" fmla="*/ 1 h 432"/>
                  <a:gd name="T26" fmla="*/ 1 w 4302"/>
                  <a:gd name="T27" fmla="*/ 0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2"/>
                  <a:gd name="T43" fmla="*/ 0 h 432"/>
                  <a:gd name="T44" fmla="*/ 4302 w 4302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2" h="432">
                    <a:moveTo>
                      <a:pt x="4289" y="15"/>
                    </a:moveTo>
                    <a:cubicBezTo>
                      <a:pt x="4289" y="33"/>
                      <a:pt x="4302" y="94"/>
                      <a:pt x="4292" y="122"/>
                    </a:cubicBezTo>
                    <a:cubicBezTo>
                      <a:pt x="4282" y="150"/>
                      <a:pt x="4268" y="167"/>
                      <a:pt x="4229" y="183"/>
                    </a:cubicBezTo>
                    <a:cubicBezTo>
                      <a:pt x="4190" y="199"/>
                      <a:pt x="4211" y="191"/>
                      <a:pt x="4055" y="217"/>
                    </a:cubicBezTo>
                    <a:cubicBezTo>
                      <a:pt x="3899" y="243"/>
                      <a:pt x="3516" y="309"/>
                      <a:pt x="3291" y="342"/>
                    </a:cubicBezTo>
                    <a:cubicBezTo>
                      <a:pt x="3066" y="375"/>
                      <a:pt x="2919" y="400"/>
                      <a:pt x="2703" y="414"/>
                    </a:cubicBezTo>
                    <a:cubicBezTo>
                      <a:pt x="2487" y="428"/>
                      <a:pt x="2366" y="426"/>
                      <a:pt x="1993" y="429"/>
                    </a:cubicBezTo>
                    <a:cubicBezTo>
                      <a:pt x="1620" y="432"/>
                      <a:pt x="756" y="430"/>
                      <a:pt x="465" y="430"/>
                    </a:cubicBezTo>
                    <a:lnTo>
                      <a:pt x="245" y="432"/>
                    </a:lnTo>
                    <a:cubicBezTo>
                      <a:pt x="197" y="425"/>
                      <a:pt x="213" y="430"/>
                      <a:pt x="174" y="388"/>
                    </a:cubicBezTo>
                    <a:cubicBezTo>
                      <a:pt x="135" y="346"/>
                      <a:pt x="38" y="219"/>
                      <a:pt x="9" y="180"/>
                    </a:cubicBezTo>
                    <a:lnTo>
                      <a:pt x="0" y="151"/>
                    </a:lnTo>
                    <a:cubicBezTo>
                      <a:pt x="1" y="135"/>
                      <a:pt x="4" y="107"/>
                      <a:pt x="12" y="82"/>
                    </a:cubicBezTo>
                    <a:cubicBezTo>
                      <a:pt x="20" y="57"/>
                      <a:pt x="41" y="17"/>
                      <a:pt x="48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6" name="Freeform 66"/>
              <p:cNvSpPr>
                <a:spLocks noChangeAspect="1"/>
              </p:cNvSpPr>
              <p:nvPr/>
            </p:nvSpPr>
            <p:spPr bwMode="auto">
              <a:xfrm flipV="1">
                <a:off x="3878" y="910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7" name="Freeform 67"/>
              <p:cNvSpPr>
                <a:spLocks noChangeAspect="1"/>
              </p:cNvSpPr>
              <p:nvPr/>
            </p:nvSpPr>
            <p:spPr bwMode="auto">
              <a:xfrm flipV="1">
                <a:off x="2812" y="929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8" name="Freeform 68"/>
              <p:cNvSpPr>
                <a:spLocks noChangeAspect="1"/>
              </p:cNvSpPr>
              <p:nvPr/>
            </p:nvSpPr>
            <p:spPr bwMode="auto">
              <a:xfrm flipV="1">
                <a:off x="2669" y="843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9" name="Freeform 69"/>
              <p:cNvSpPr>
                <a:spLocks noChangeAspect="1"/>
              </p:cNvSpPr>
              <p:nvPr/>
            </p:nvSpPr>
            <p:spPr bwMode="auto">
              <a:xfrm flipV="1">
                <a:off x="717" y="860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0" name="Freeform 70"/>
              <p:cNvSpPr>
                <a:spLocks noChangeAspect="1"/>
              </p:cNvSpPr>
              <p:nvPr/>
            </p:nvSpPr>
            <p:spPr bwMode="auto">
              <a:xfrm flipV="1">
                <a:off x="1812" y="93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1" name="Freeform 71"/>
              <p:cNvSpPr>
                <a:spLocks noChangeAspect="1"/>
              </p:cNvSpPr>
              <p:nvPr/>
            </p:nvSpPr>
            <p:spPr bwMode="auto">
              <a:xfrm>
                <a:off x="511" y="914"/>
                <a:ext cx="1593" cy="153"/>
              </a:xfrm>
              <a:custGeom>
                <a:avLst/>
                <a:gdLst>
                  <a:gd name="T0" fmla="*/ 1 w 2676"/>
                  <a:gd name="T1" fmla="*/ 0 h 257"/>
                  <a:gd name="T2" fmla="*/ 1 w 2676"/>
                  <a:gd name="T3" fmla="*/ 1 h 257"/>
                  <a:gd name="T4" fmla="*/ 1 w 2676"/>
                  <a:gd name="T5" fmla="*/ 1 h 257"/>
                  <a:gd name="T6" fmla="*/ 1 w 2676"/>
                  <a:gd name="T7" fmla="*/ 1 h 257"/>
                  <a:gd name="T8" fmla="*/ 1 w 2676"/>
                  <a:gd name="T9" fmla="*/ 1 h 257"/>
                  <a:gd name="T10" fmla="*/ 0 w 2676"/>
                  <a:gd name="T11" fmla="*/ 1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76"/>
                  <a:gd name="T19" fmla="*/ 0 h 257"/>
                  <a:gd name="T20" fmla="*/ 2676 w 2676"/>
                  <a:gd name="T21" fmla="*/ 257 h 2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76" h="257">
                    <a:moveTo>
                      <a:pt x="2676" y="0"/>
                    </a:moveTo>
                    <a:cubicBezTo>
                      <a:pt x="2573" y="3"/>
                      <a:pt x="2328" y="13"/>
                      <a:pt x="2056" y="16"/>
                    </a:cubicBezTo>
                    <a:cubicBezTo>
                      <a:pt x="1784" y="19"/>
                      <a:pt x="1317" y="5"/>
                      <a:pt x="1042" y="20"/>
                    </a:cubicBezTo>
                    <a:cubicBezTo>
                      <a:pt x="767" y="35"/>
                      <a:pt x="555" y="82"/>
                      <a:pt x="406" y="108"/>
                    </a:cubicBezTo>
                    <a:cubicBezTo>
                      <a:pt x="257" y="134"/>
                      <a:pt x="214" y="149"/>
                      <a:pt x="146" y="174"/>
                    </a:cubicBezTo>
                    <a:cubicBezTo>
                      <a:pt x="78" y="199"/>
                      <a:pt x="30" y="240"/>
                      <a:pt x="0" y="25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2" name="Freeform 72"/>
              <p:cNvSpPr>
                <a:spLocks noChangeAspect="1"/>
              </p:cNvSpPr>
              <p:nvPr/>
            </p:nvSpPr>
            <p:spPr bwMode="auto">
              <a:xfrm flipV="1">
                <a:off x="1635" y="942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3" name="Freeform 73"/>
              <p:cNvSpPr>
                <a:spLocks noChangeAspect="1"/>
              </p:cNvSpPr>
              <p:nvPr/>
            </p:nvSpPr>
            <p:spPr bwMode="auto">
              <a:xfrm flipV="1">
                <a:off x="793" y="941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4" name="Freeform 74"/>
              <p:cNvSpPr>
                <a:spLocks noChangeAspect="1"/>
              </p:cNvSpPr>
              <p:nvPr/>
            </p:nvSpPr>
            <p:spPr bwMode="auto">
              <a:xfrm flipV="1">
                <a:off x="283" y="852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5" name="Freeform 75"/>
              <p:cNvSpPr>
                <a:spLocks noChangeAspect="1"/>
              </p:cNvSpPr>
              <p:nvPr/>
            </p:nvSpPr>
            <p:spPr bwMode="auto">
              <a:xfrm flipV="1">
                <a:off x="415" y="957"/>
                <a:ext cx="88" cy="30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6" name="Freeform 76"/>
              <p:cNvSpPr>
                <a:spLocks noChangeAspect="1"/>
              </p:cNvSpPr>
              <p:nvPr/>
            </p:nvSpPr>
            <p:spPr bwMode="auto">
              <a:xfrm flipV="1">
                <a:off x="222" y="1279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7" name="Freeform 77"/>
              <p:cNvSpPr>
                <a:spLocks noChangeAspect="1"/>
              </p:cNvSpPr>
              <p:nvPr/>
            </p:nvSpPr>
            <p:spPr bwMode="auto">
              <a:xfrm flipV="1">
                <a:off x="200" y="1328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8" name="Freeform 78"/>
              <p:cNvSpPr>
                <a:spLocks noChangeAspect="1"/>
              </p:cNvSpPr>
              <p:nvPr/>
            </p:nvSpPr>
            <p:spPr bwMode="auto">
              <a:xfrm>
                <a:off x="3607" y="3015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9" name="Freeform 79"/>
              <p:cNvSpPr>
                <a:spLocks noChangeAspect="1"/>
              </p:cNvSpPr>
              <p:nvPr/>
            </p:nvSpPr>
            <p:spPr bwMode="auto">
              <a:xfrm>
                <a:off x="3681" y="2955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0" name="Freeform 80"/>
              <p:cNvSpPr>
                <a:spLocks noChangeAspect="1"/>
              </p:cNvSpPr>
              <p:nvPr/>
            </p:nvSpPr>
            <p:spPr bwMode="auto">
              <a:xfrm>
                <a:off x="3621" y="2965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1" name="Freeform 81"/>
              <p:cNvSpPr>
                <a:spLocks noChangeAspect="1"/>
              </p:cNvSpPr>
              <p:nvPr/>
            </p:nvSpPr>
            <p:spPr bwMode="auto">
              <a:xfrm>
                <a:off x="3754" y="2990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2" name="Freeform 82"/>
              <p:cNvSpPr>
                <a:spLocks noChangeAspect="1"/>
              </p:cNvSpPr>
              <p:nvPr/>
            </p:nvSpPr>
            <p:spPr bwMode="auto">
              <a:xfrm>
                <a:off x="3699" y="2899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3" name="Freeform 83"/>
              <p:cNvSpPr>
                <a:spLocks noChangeAspect="1"/>
              </p:cNvSpPr>
              <p:nvPr/>
            </p:nvSpPr>
            <p:spPr bwMode="auto">
              <a:xfrm flipV="1">
                <a:off x="3607" y="619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4" name="Freeform 84"/>
              <p:cNvSpPr>
                <a:spLocks noChangeAspect="1"/>
              </p:cNvSpPr>
              <p:nvPr/>
            </p:nvSpPr>
            <p:spPr bwMode="auto">
              <a:xfrm flipV="1">
                <a:off x="3681" y="627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5" name="Freeform 85"/>
              <p:cNvSpPr>
                <a:spLocks noChangeAspect="1"/>
              </p:cNvSpPr>
              <p:nvPr/>
            </p:nvSpPr>
            <p:spPr bwMode="auto">
              <a:xfrm flipV="1">
                <a:off x="3621" y="632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6" name="Freeform 86"/>
              <p:cNvSpPr>
                <a:spLocks noChangeAspect="1"/>
              </p:cNvSpPr>
              <p:nvPr/>
            </p:nvSpPr>
            <p:spPr bwMode="auto">
              <a:xfrm flipV="1">
                <a:off x="3754" y="884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7" name="Freeform 87"/>
              <p:cNvSpPr>
                <a:spLocks noChangeAspect="1"/>
              </p:cNvSpPr>
              <p:nvPr/>
            </p:nvSpPr>
            <p:spPr bwMode="auto">
              <a:xfrm flipV="1">
                <a:off x="3699" y="914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8" name="Freeform 88"/>
              <p:cNvSpPr>
                <a:spLocks noChangeAspect="1"/>
              </p:cNvSpPr>
              <p:nvPr/>
            </p:nvSpPr>
            <p:spPr bwMode="auto">
              <a:xfrm>
                <a:off x="2897" y="2648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9" name="Freeform 89"/>
              <p:cNvSpPr>
                <a:spLocks noChangeAspect="1"/>
              </p:cNvSpPr>
              <p:nvPr/>
            </p:nvSpPr>
            <p:spPr bwMode="auto">
              <a:xfrm>
                <a:off x="2903" y="2564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0" name="Freeform 90"/>
              <p:cNvSpPr>
                <a:spLocks noChangeAspect="1"/>
              </p:cNvSpPr>
              <p:nvPr/>
            </p:nvSpPr>
            <p:spPr bwMode="auto">
              <a:xfrm>
                <a:off x="2862" y="2551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1" name="Freeform 91"/>
              <p:cNvSpPr>
                <a:spLocks noChangeAspect="1"/>
              </p:cNvSpPr>
              <p:nvPr/>
            </p:nvSpPr>
            <p:spPr bwMode="auto">
              <a:xfrm>
                <a:off x="2869" y="2548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2" name="Freeform 92"/>
              <p:cNvSpPr>
                <a:spLocks noChangeAspect="1"/>
              </p:cNvSpPr>
              <p:nvPr/>
            </p:nvSpPr>
            <p:spPr bwMode="auto">
              <a:xfrm>
                <a:off x="2867" y="2679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3" name="Freeform 93"/>
              <p:cNvSpPr>
                <a:spLocks noChangeAspect="1"/>
              </p:cNvSpPr>
              <p:nvPr/>
            </p:nvSpPr>
            <p:spPr bwMode="auto">
              <a:xfrm>
                <a:off x="760" y="2645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4" name="Freeform 94"/>
              <p:cNvSpPr>
                <a:spLocks noChangeAspect="1"/>
              </p:cNvSpPr>
              <p:nvPr/>
            </p:nvSpPr>
            <p:spPr bwMode="auto">
              <a:xfrm>
                <a:off x="759" y="2556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5" name="Freeform 95"/>
              <p:cNvSpPr>
                <a:spLocks noChangeAspect="1"/>
              </p:cNvSpPr>
              <p:nvPr/>
            </p:nvSpPr>
            <p:spPr bwMode="auto">
              <a:xfrm>
                <a:off x="760" y="2567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6" name="Freeform 96"/>
              <p:cNvSpPr>
                <a:spLocks noChangeAspect="1"/>
              </p:cNvSpPr>
              <p:nvPr/>
            </p:nvSpPr>
            <p:spPr bwMode="auto">
              <a:xfrm>
                <a:off x="760" y="2624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7" name="Freeform 97"/>
              <p:cNvSpPr>
                <a:spLocks noChangeAspect="1"/>
              </p:cNvSpPr>
              <p:nvPr/>
            </p:nvSpPr>
            <p:spPr bwMode="auto">
              <a:xfrm>
                <a:off x="996" y="2557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8" name="Line 98"/>
              <p:cNvSpPr>
                <a:spLocks noChangeAspect="1" noChangeShapeType="1"/>
              </p:cNvSpPr>
              <p:nvPr/>
            </p:nvSpPr>
            <p:spPr bwMode="auto">
              <a:xfrm>
                <a:off x="1000" y="2586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9" name="Line 99"/>
              <p:cNvSpPr>
                <a:spLocks noChangeAspect="1" noChangeShapeType="1"/>
              </p:cNvSpPr>
              <p:nvPr/>
            </p:nvSpPr>
            <p:spPr bwMode="auto">
              <a:xfrm>
                <a:off x="999" y="2618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70" name="Line 100"/>
              <p:cNvSpPr>
                <a:spLocks noChangeAspect="1" noChangeShapeType="1"/>
              </p:cNvSpPr>
              <p:nvPr/>
            </p:nvSpPr>
            <p:spPr bwMode="auto">
              <a:xfrm>
                <a:off x="1011" y="2633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71" name="Line 101"/>
              <p:cNvSpPr>
                <a:spLocks noChangeAspect="1" noChangeShapeType="1"/>
              </p:cNvSpPr>
              <p:nvPr/>
            </p:nvSpPr>
            <p:spPr bwMode="auto">
              <a:xfrm>
                <a:off x="1019" y="2572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72" name="Freeform 102"/>
              <p:cNvSpPr>
                <a:spLocks noChangeAspect="1"/>
              </p:cNvSpPr>
              <p:nvPr/>
            </p:nvSpPr>
            <p:spPr bwMode="auto">
              <a:xfrm flipV="1">
                <a:off x="2897" y="1196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3" name="Freeform 103"/>
              <p:cNvSpPr>
                <a:spLocks noChangeAspect="1"/>
              </p:cNvSpPr>
              <p:nvPr/>
            </p:nvSpPr>
            <p:spPr bwMode="auto">
              <a:xfrm flipV="1">
                <a:off x="2903" y="1289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4" name="Freeform 104"/>
              <p:cNvSpPr>
                <a:spLocks noChangeAspect="1"/>
              </p:cNvSpPr>
              <p:nvPr/>
            </p:nvSpPr>
            <p:spPr bwMode="auto">
              <a:xfrm flipV="1">
                <a:off x="2862" y="1206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5" name="Freeform 105"/>
              <p:cNvSpPr>
                <a:spLocks noChangeAspect="1"/>
              </p:cNvSpPr>
              <p:nvPr/>
            </p:nvSpPr>
            <p:spPr bwMode="auto">
              <a:xfrm flipV="1">
                <a:off x="2869" y="1320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6" name="Freeform 106"/>
              <p:cNvSpPr>
                <a:spLocks noChangeAspect="1"/>
              </p:cNvSpPr>
              <p:nvPr/>
            </p:nvSpPr>
            <p:spPr bwMode="auto">
              <a:xfrm flipV="1">
                <a:off x="2867" y="1197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7" name="Freeform 107"/>
              <p:cNvSpPr>
                <a:spLocks noChangeAspect="1"/>
              </p:cNvSpPr>
              <p:nvPr/>
            </p:nvSpPr>
            <p:spPr bwMode="auto">
              <a:xfrm flipV="1">
                <a:off x="760" y="1230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8" name="Freeform 108"/>
              <p:cNvSpPr>
                <a:spLocks noChangeAspect="1"/>
              </p:cNvSpPr>
              <p:nvPr/>
            </p:nvSpPr>
            <p:spPr bwMode="auto">
              <a:xfrm flipV="1">
                <a:off x="759" y="1317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9" name="Freeform 109"/>
              <p:cNvSpPr>
                <a:spLocks noChangeAspect="1"/>
              </p:cNvSpPr>
              <p:nvPr/>
            </p:nvSpPr>
            <p:spPr bwMode="auto">
              <a:xfrm flipV="1">
                <a:off x="760" y="1302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80" name="Freeform 110"/>
              <p:cNvSpPr>
                <a:spLocks noChangeAspect="1"/>
              </p:cNvSpPr>
              <p:nvPr/>
            </p:nvSpPr>
            <p:spPr bwMode="auto">
              <a:xfrm flipV="1">
                <a:off x="760" y="1240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81" name="Freeform 111"/>
              <p:cNvSpPr>
                <a:spLocks noChangeAspect="1"/>
              </p:cNvSpPr>
              <p:nvPr/>
            </p:nvSpPr>
            <p:spPr bwMode="auto">
              <a:xfrm flipV="1">
                <a:off x="996" y="1230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82" name="Line 112"/>
              <p:cNvSpPr>
                <a:spLocks noChangeAspect="1" noChangeShapeType="1"/>
              </p:cNvSpPr>
              <p:nvPr/>
            </p:nvSpPr>
            <p:spPr bwMode="auto">
              <a:xfrm flipV="1">
                <a:off x="1000" y="1291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3" name="Line 113"/>
              <p:cNvSpPr>
                <a:spLocks noChangeAspect="1" noChangeShapeType="1"/>
              </p:cNvSpPr>
              <p:nvPr/>
            </p:nvSpPr>
            <p:spPr bwMode="auto">
              <a:xfrm flipV="1">
                <a:off x="999" y="1259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4" name="Line 114"/>
              <p:cNvSpPr>
                <a:spLocks noChangeAspect="1" noChangeShapeType="1"/>
              </p:cNvSpPr>
              <p:nvPr/>
            </p:nvSpPr>
            <p:spPr bwMode="auto">
              <a:xfrm flipV="1">
                <a:off x="1011" y="1244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5" name="Line 115"/>
              <p:cNvSpPr>
                <a:spLocks noChangeAspect="1" noChangeShapeType="1"/>
              </p:cNvSpPr>
              <p:nvPr/>
            </p:nvSpPr>
            <p:spPr bwMode="auto">
              <a:xfrm flipV="1">
                <a:off x="1019" y="1305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6" name="Freeform 116"/>
              <p:cNvSpPr>
                <a:spLocks noChangeAspect="1"/>
              </p:cNvSpPr>
              <p:nvPr/>
            </p:nvSpPr>
            <p:spPr bwMode="auto">
              <a:xfrm>
                <a:off x="774" y="1937"/>
                <a:ext cx="205" cy="23"/>
              </a:xfrm>
              <a:custGeom>
                <a:avLst/>
                <a:gdLst>
                  <a:gd name="T0" fmla="*/ 1 w 329"/>
                  <a:gd name="T1" fmla="*/ 1 h 37"/>
                  <a:gd name="T2" fmla="*/ 1 w 329"/>
                  <a:gd name="T3" fmla="*/ 1 h 37"/>
                  <a:gd name="T4" fmla="*/ 1 w 329"/>
                  <a:gd name="T5" fmla="*/ 1 h 37"/>
                  <a:gd name="T6" fmla="*/ 1 w 329"/>
                  <a:gd name="T7" fmla="*/ 1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9"/>
                  <a:gd name="T13" fmla="*/ 0 h 37"/>
                  <a:gd name="T14" fmla="*/ 329 w 329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9" h="37">
                    <a:moveTo>
                      <a:pt x="329" y="35"/>
                    </a:moveTo>
                    <a:cubicBezTo>
                      <a:pt x="282" y="35"/>
                      <a:pt x="94" y="37"/>
                      <a:pt x="47" y="32"/>
                    </a:cubicBezTo>
                    <a:cubicBezTo>
                      <a:pt x="0" y="27"/>
                      <a:pt x="0" y="10"/>
                      <a:pt x="47" y="5"/>
                    </a:cubicBezTo>
                    <a:cubicBezTo>
                      <a:pt x="94" y="0"/>
                      <a:pt x="270" y="3"/>
                      <a:pt x="328" y="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7" name="Freeform 117"/>
              <p:cNvSpPr>
                <a:spLocks noChangeAspect="1"/>
              </p:cNvSpPr>
              <p:nvPr/>
            </p:nvSpPr>
            <p:spPr bwMode="auto">
              <a:xfrm>
                <a:off x="966" y="1904"/>
                <a:ext cx="98" cy="86"/>
              </a:xfrm>
              <a:custGeom>
                <a:avLst/>
                <a:gdLst>
                  <a:gd name="T0" fmla="*/ 0 w 157"/>
                  <a:gd name="T1" fmla="*/ 1 h 137"/>
                  <a:gd name="T2" fmla="*/ 1 w 157"/>
                  <a:gd name="T3" fmla="*/ 1 h 137"/>
                  <a:gd name="T4" fmla="*/ 1 w 157"/>
                  <a:gd name="T5" fmla="*/ 1 h 137"/>
                  <a:gd name="T6" fmla="*/ 1 w 157"/>
                  <a:gd name="T7" fmla="*/ 1 h 137"/>
                  <a:gd name="T8" fmla="*/ 1 w 157"/>
                  <a:gd name="T9" fmla="*/ 1 h 137"/>
                  <a:gd name="T10" fmla="*/ 1 w 157"/>
                  <a:gd name="T11" fmla="*/ 1 h 137"/>
                  <a:gd name="T12" fmla="*/ 1 w 157"/>
                  <a:gd name="T13" fmla="*/ 1 h 137"/>
                  <a:gd name="T14" fmla="*/ 1 w 157"/>
                  <a:gd name="T15" fmla="*/ 1 h 137"/>
                  <a:gd name="T16" fmla="*/ 1 w 157"/>
                  <a:gd name="T17" fmla="*/ 1 h 137"/>
                  <a:gd name="T18" fmla="*/ 0 w 157"/>
                  <a:gd name="T19" fmla="*/ 1 h 1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7"/>
                  <a:gd name="T31" fmla="*/ 0 h 137"/>
                  <a:gd name="T32" fmla="*/ 157 w 157"/>
                  <a:gd name="T33" fmla="*/ 137 h 1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7" h="137">
                    <a:moveTo>
                      <a:pt x="0" y="90"/>
                    </a:moveTo>
                    <a:cubicBezTo>
                      <a:pt x="2" y="93"/>
                      <a:pt x="5" y="102"/>
                      <a:pt x="11" y="107"/>
                    </a:cubicBezTo>
                    <a:cubicBezTo>
                      <a:pt x="17" y="112"/>
                      <a:pt x="31" y="114"/>
                      <a:pt x="39" y="119"/>
                    </a:cubicBezTo>
                    <a:cubicBezTo>
                      <a:pt x="47" y="124"/>
                      <a:pt x="41" y="137"/>
                      <a:pt x="57" y="135"/>
                    </a:cubicBezTo>
                    <a:cubicBezTo>
                      <a:pt x="73" y="133"/>
                      <a:pt x="124" y="121"/>
                      <a:pt x="138" y="105"/>
                    </a:cubicBezTo>
                    <a:cubicBezTo>
                      <a:pt x="152" y="89"/>
                      <a:pt x="157" y="58"/>
                      <a:pt x="143" y="41"/>
                    </a:cubicBezTo>
                    <a:cubicBezTo>
                      <a:pt x="129" y="24"/>
                      <a:pt x="74" y="6"/>
                      <a:pt x="56" y="3"/>
                    </a:cubicBezTo>
                    <a:cubicBezTo>
                      <a:pt x="38" y="0"/>
                      <a:pt x="42" y="17"/>
                      <a:pt x="35" y="23"/>
                    </a:cubicBezTo>
                    <a:cubicBezTo>
                      <a:pt x="28" y="29"/>
                      <a:pt x="17" y="33"/>
                      <a:pt x="11" y="38"/>
                    </a:cubicBezTo>
                    <a:cubicBezTo>
                      <a:pt x="5" y="43"/>
                      <a:pt x="2" y="51"/>
                      <a:pt x="0" y="5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8" name="Line 118"/>
              <p:cNvSpPr>
                <a:spLocks noChangeAspect="1" noChangeShapeType="1"/>
              </p:cNvSpPr>
              <p:nvPr/>
            </p:nvSpPr>
            <p:spPr bwMode="auto">
              <a:xfrm>
                <a:off x="981" y="1937"/>
                <a:ext cx="0" cy="21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9" name="Freeform 119"/>
              <p:cNvSpPr>
                <a:spLocks noChangeAspect="1"/>
              </p:cNvSpPr>
              <p:nvPr/>
            </p:nvSpPr>
            <p:spPr bwMode="auto">
              <a:xfrm>
                <a:off x="984" y="1915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0" name="Freeform 120"/>
              <p:cNvSpPr>
                <a:spLocks noChangeAspect="1"/>
              </p:cNvSpPr>
              <p:nvPr/>
            </p:nvSpPr>
            <p:spPr bwMode="auto">
              <a:xfrm flipV="1">
                <a:off x="984" y="1958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91" name="Freeform 121"/>
              <p:cNvSpPr>
                <a:spLocks noChangeAspect="1"/>
              </p:cNvSpPr>
              <p:nvPr/>
            </p:nvSpPr>
            <p:spPr bwMode="auto">
              <a:xfrm>
                <a:off x="94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2" name="Freeform 122"/>
              <p:cNvSpPr>
                <a:spLocks noChangeAspect="1"/>
              </p:cNvSpPr>
              <p:nvPr/>
            </p:nvSpPr>
            <p:spPr bwMode="auto">
              <a:xfrm>
                <a:off x="91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3" name="Freeform 123"/>
              <p:cNvSpPr>
                <a:spLocks noChangeAspect="1"/>
              </p:cNvSpPr>
              <p:nvPr/>
            </p:nvSpPr>
            <p:spPr bwMode="auto">
              <a:xfrm>
                <a:off x="887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4" name="Freeform 124"/>
              <p:cNvSpPr>
                <a:spLocks noChangeAspect="1"/>
              </p:cNvSpPr>
              <p:nvPr/>
            </p:nvSpPr>
            <p:spPr bwMode="auto">
              <a:xfrm>
                <a:off x="860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5" name="Freeform 125"/>
              <p:cNvSpPr>
                <a:spLocks noChangeAspect="1"/>
              </p:cNvSpPr>
              <p:nvPr/>
            </p:nvSpPr>
            <p:spPr bwMode="auto">
              <a:xfrm>
                <a:off x="828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6" name="Freeform 126"/>
              <p:cNvSpPr>
                <a:spLocks noChangeAspect="1"/>
              </p:cNvSpPr>
              <p:nvPr/>
            </p:nvSpPr>
            <p:spPr bwMode="auto">
              <a:xfrm>
                <a:off x="803" y="1940"/>
                <a:ext cx="17" cy="17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7" name="Freeform 127"/>
              <p:cNvSpPr>
                <a:spLocks noChangeAspect="1"/>
              </p:cNvSpPr>
              <p:nvPr/>
            </p:nvSpPr>
            <p:spPr bwMode="auto">
              <a:xfrm>
                <a:off x="666" y="1224"/>
                <a:ext cx="95" cy="1429"/>
              </a:xfrm>
              <a:custGeom>
                <a:avLst/>
                <a:gdLst>
                  <a:gd name="T0" fmla="*/ 1 w 160"/>
                  <a:gd name="T1" fmla="*/ 1 h 2429"/>
                  <a:gd name="T2" fmla="*/ 1 w 160"/>
                  <a:gd name="T3" fmla="*/ 1 h 2429"/>
                  <a:gd name="T4" fmla="*/ 1 w 160"/>
                  <a:gd name="T5" fmla="*/ 1 h 2429"/>
                  <a:gd name="T6" fmla="*/ 1 w 160"/>
                  <a:gd name="T7" fmla="*/ 1 h 2429"/>
                  <a:gd name="T8" fmla="*/ 1 w 160"/>
                  <a:gd name="T9" fmla="*/ 1 h 2429"/>
                  <a:gd name="T10" fmla="*/ 1 w 160"/>
                  <a:gd name="T11" fmla="*/ 1 h 2429"/>
                  <a:gd name="T12" fmla="*/ 1 w 160"/>
                  <a:gd name="T13" fmla="*/ 1 h 24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2429"/>
                  <a:gd name="T23" fmla="*/ 160 w 160"/>
                  <a:gd name="T24" fmla="*/ 2429 h 24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2429">
                    <a:moveTo>
                      <a:pt x="160" y="2423"/>
                    </a:moveTo>
                    <a:cubicBezTo>
                      <a:pt x="146" y="2413"/>
                      <a:pt x="100" y="2429"/>
                      <a:pt x="78" y="2365"/>
                    </a:cubicBezTo>
                    <a:cubicBezTo>
                      <a:pt x="56" y="2301"/>
                      <a:pt x="43" y="2229"/>
                      <a:pt x="30" y="2038"/>
                    </a:cubicBezTo>
                    <a:cubicBezTo>
                      <a:pt x="17" y="1847"/>
                      <a:pt x="4" y="1491"/>
                      <a:pt x="2" y="1217"/>
                    </a:cubicBezTo>
                    <a:cubicBezTo>
                      <a:pt x="0" y="943"/>
                      <a:pt x="8" y="584"/>
                      <a:pt x="21" y="392"/>
                    </a:cubicBezTo>
                    <a:cubicBezTo>
                      <a:pt x="34" y="200"/>
                      <a:pt x="55" y="130"/>
                      <a:pt x="78" y="65"/>
                    </a:cubicBezTo>
                    <a:cubicBezTo>
                      <a:pt x="101" y="0"/>
                      <a:pt x="143" y="17"/>
                      <a:pt x="160" y="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9" name="그룹 107"/>
            <p:cNvGrpSpPr>
              <a:grpSpLocks/>
            </p:cNvGrpSpPr>
            <p:nvPr/>
          </p:nvGrpSpPr>
          <p:grpSpPr bwMode="auto">
            <a:xfrm>
              <a:off x="2030116" y="4453396"/>
              <a:ext cx="279212" cy="242675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0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1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그룹 107"/>
            <p:cNvGrpSpPr>
              <a:grpSpLocks/>
            </p:cNvGrpSpPr>
            <p:nvPr/>
          </p:nvGrpSpPr>
          <p:grpSpPr bwMode="auto">
            <a:xfrm rot="10800000">
              <a:off x="3898893" y="4438462"/>
              <a:ext cx="279212" cy="246408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3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489" name="그룹 107"/>
            <p:cNvGrpSpPr>
              <a:grpSpLocks/>
            </p:cNvGrpSpPr>
            <p:nvPr/>
          </p:nvGrpSpPr>
          <p:grpSpPr bwMode="auto">
            <a:xfrm rot="5400000">
              <a:off x="3017029" y="3892239"/>
              <a:ext cx="362146" cy="185218"/>
              <a:chOff x="1665463" y="5157193"/>
              <a:chExt cx="407217" cy="288032"/>
            </a:xfrm>
          </p:grpSpPr>
          <p:sp>
            <p:nvSpPr>
              <p:cNvPr id="18496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8497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grpSp>
          <p:nvGrpSpPr>
            <p:cNvPr id="18490" name="그룹 107"/>
            <p:cNvGrpSpPr>
              <a:grpSpLocks/>
            </p:cNvGrpSpPr>
            <p:nvPr/>
          </p:nvGrpSpPr>
          <p:grpSpPr bwMode="auto">
            <a:xfrm rot="-5400000">
              <a:off x="3017029" y="5057075"/>
              <a:ext cx="362146" cy="185218"/>
              <a:chOff x="1665463" y="5157193"/>
              <a:chExt cx="407217" cy="288032"/>
            </a:xfrm>
          </p:grpSpPr>
          <p:sp>
            <p:nvSpPr>
              <p:cNvPr id="18494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8495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sp>
          <p:nvSpPr>
            <p:cNvPr id="18491" name="Oval 26"/>
            <p:cNvSpPr>
              <a:spLocks noChangeAspect="1" noChangeArrowheads="1"/>
            </p:cNvSpPr>
            <p:nvPr/>
          </p:nvSpPr>
          <p:spPr bwMode="auto">
            <a:xfrm rot="5400000">
              <a:off x="1143152" y="4146513"/>
              <a:ext cx="1743519" cy="826574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ot="10800000" vert="eaVert"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8492" name="Oval 129"/>
            <p:cNvSpPr>
              <a:spLocks noChangeAspect="1" noChangeArrowheads="1"/>
            </p:cNvSpPr>
            <p:nvPr/>
          </p:nvSpPr>
          <p:spPr bwMode="auto">
            <a:xfrm>
              <a:off x="2168339" y="4785674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8493" name="Oval 130"/>
            <p:cNvSpPr>
              <a:spLocks noChangeAspect="1" noChangeArrowheads="1"/>
            </p:cNvSpPr>
            <p:nvPr/>
          </p:nvSpPr>
          <p:spPr bwMode="auto">
            <a:xfrm>
              <a:off x="2168339" y="3381897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</p:grpSp>
      <p:grpSp>
        <p:nvGrpSpPr>
          <p:cNvPr id="227" name="Group 27"/>
          <p:cNvGrpSpPr>
            <a:grpSpLocks noChangeAspect="1"/>
          </p:cNvGrpSpPr>
          <p:nvPr/>
        </p:nvGrpSpPr>
        <p:grpSpPr bwMode="auto">
          <a:xfrm>
            <a:off x="4399495" y="2461506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22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2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29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cxnSp>
        <p:nvCxnSpPr>
          <p:cNvPr id="18439" name="직선 연결선 12287"/>
          <p:cNvCxnSpPr>
            <a:cxnSpLocks noChangeShapeType="1"/>
          </p:cNvCxnSpPr>
          <p:nvPr/>
        </p:nvCxnSpPr>
        <p:spPr bwMode="auto">
          <a:xfrm>
            <a:off x="365125" y="3157538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289" name="원호 12288"/>
          <p:cNvSpPr/>
          <p:nvPr/>
        </p:nvSpPr>
        <p:spPr bwMode="auto">
          <a:xfrm>
            <a:off x="4160838" y="3162300"/>
            <a:ext cx="3606800" cy="1527175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8441" name="직선 연결선 332"/>
          <p:cNvCxnSpPr>
            <a:cxnSpLocks noChangeShapeType="1"/>
          </p:cNvCxnSpPr>
          <p:nvPr/>
        </p:nvCxnSpPr>
        <p:spPr bwMode="auto">
          <a:xfrm>
            <a:off x="774700" y="2365375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4" name="원호 333"/>
          <p:cNvSpPr/>
          <p:nvPr/>
        </p:nvSpPr>
        <p:spPr bwMode="auto">
          <a:xfrm>
            <a:off x="4570413" y="2370138"/>
            <a:ext cx="3606800" cy="1528762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8443" name="직선 연결선 334"/>
          <p:cNvCxnSpPr>
            <a:cxnSpLocks noChangeShapeType="1"/>
          </p:cNvCxnSpPr>
          <p:nvPr/>
        </p:nvCxnSpPr>
        <p:spPr bwMode="auto">
          <a:xfrm>
            <a:off x="1657350" y="1681163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6" name="원호 335"/>
          <p:cNvSpPr/>
          <p:nvPr/>
        </p:nvSpPr>
        <p:spPr bwMode="auto">
          <a:xfrm>
            <a:off x="5453063" y="1685925"/>
            <a:ext cx="3605212" cy="1528763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grpSp>
        <p:nvGrpSpPr>
          <p:cNvPr id="337" name="Group 27"/>
          <p:cNvGrpSpPr>
            <a:grpSpLocks noChangeAspect="1"/>
          </p:cNvGrpSpPr>
          <p:nvPr/>
        </p:nvGrpSpPr>
        <p:grpSpPr bwMode="auto">
          <a:xfrm rot="866380">
            <a:off x="7445061" y="2045738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33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3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0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grpSp>
        <p:nvGrpSpPr>
          <p:cNvPr id="440" name="Group 27"/>
          <p:cNvGrpSpPr>
            <a:grpSpLocks noChangeAspect="1"/>
          </p:cNvGrpSpPr>
          <p:nvPr/>
        </p:nvGrpSpPr>
        <p:grpSpPr bwMode="auto">
          <a:xfrm>
            <a:off x="2109245" y="1745963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441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2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3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4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5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6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7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8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9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0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1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2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3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4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5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6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7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8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9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0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1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2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3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4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5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6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7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8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9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0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1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2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3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4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5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6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7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8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9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0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1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2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3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4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5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6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7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8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9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0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1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2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3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4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5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6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7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8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9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0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1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2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3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4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5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6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7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8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9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0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1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2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3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4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5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6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7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8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9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0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1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2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3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4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5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6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7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8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9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0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1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32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3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4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5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6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7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8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9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40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pic>
        <p:nvPicPr>
          <p:cNvPr id="18447" name="그림 1229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088" y="5345113"/>
            <a:ext cx="633412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448" name="구부러진 연결선 12301"/>
          <p:cNvCxnSpPr>
            <a:cxnSpLocks noChangeShapeType="1"/>
          </p:cNvCxnSpPr>
          <p:nvPr/>
        </p:nvCxnSpPr>
        <p:spPr bwMode="auto">
          <a:xfrm rot="10800000" flipV="1">
            <a:off x="6850063" y="2312988"/>
            <a:ext cx="2649537" cy="1800225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49" name="구부러진 연결선 551"/>
          <p:cNvCxnSpPr>
            <a:cxnSpLocks noChangeShapeType="1"/>
          </p:cNvCxnSpPr>
          <p:nvPr/>
        </p:nvCxnSpPr>
        <p:spPr bwMode="auto">
          <a:xfrm rot="10800000" flipV="1">
            <a:off x="6886575" y="2349500"/>
            <a:ext cx="2649538" cy="180181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450" name="타원 1"/>
          <p:cNvSpPr>
            <a:spLocks noChangeArrowheads="1"/>
          </p:cNvSpPr>
          <p:nvPr/>
        </p:nvSpPr>
        <p:spPr bwMode="auto">
          <a:xfrm>
            <a:off x="2724150" y="1585913"/>
            <a:ext cx="373063" cy="328612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8451" name="타원 544"/>
          <p:cNvSpPr>
            <a:spLocks noChangeArrowheads="1"/>
          </p:cNvSpPr>
          <p:nvPr/>
        </p:nvSpPr>
        <p:spPr bwMode="auto">
          <a:xfrm>
            <a:off x="5070475" y="2266950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18452" name="타원 545"/>
          <p:cNvSpPr>
            <a:spLocks noChangeArrowheads="1"/>
          </p:cNvSpPr>
          <p:nvPr/>
        </p:nvSpPr>
        <p:spPr bwMode="auto">
          <a:xfrm>
            <a:off x="8129588" y="2136775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3</a:t>
            </a:r>
            <a:endParaRPr lang="ko-KR" altLang="en-US"/>
          </a:p>
        </p:txBody>
      </p:sp>
      <p:sp>
        <p:nvSpPr>
          <p:cNvPr id="18453" name="타원 546"/>
          <p:cNvSpPr>
            <a:spLocks noChangeArrowheads="1"/>
          </p:cNvSpPr>
          <p:nvPr/>
        </p:nvSpPr>
        <p:spPr bwMode="auto">
          <a:xfrm>
            <a:off x="9080500" y="5141913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4</a:t>
            </a:r>
            <a:endParaRPr lang="ko-KR" altLang="en-US"/>
          </a:p>
        </p:txBody>
      </p:sp>
      <p:grpSp>
        <p:nvGrpSpPr>
          <p:cNvPr id="549" name="Group 27"/>
          <p:cNvGrpSpPr>
            <a:grpSpLocks noChangeAspect="1"/>
          </p:cNvGrpSpPr>
          <p:nvPr/>
        </p:nvGrpSpPr>
        <p:grpSpPr bwMode="auto">
          <a:xfrm>
            <a:off x="3133862" y="2430102"/>
            <a:ext cx="990916" cy="585922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550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1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2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3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4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5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6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7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8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9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0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1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2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3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4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5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6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7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8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9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0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1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2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3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4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5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6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7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8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9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0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1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2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3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4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5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6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7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8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9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0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1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2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3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4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5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6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7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8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9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0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1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2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3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4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5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6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7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8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9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0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1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2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3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4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5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6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7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8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9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0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1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2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3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4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5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6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7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8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9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0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1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2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3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4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5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6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7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8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9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0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41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2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3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4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5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6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7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8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9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sp>
        <p:nvSpPr>
          <p:cNvPr id="18455" name="Content Placeholder 1"/>
          <p:cNvSpPr>
            <a:spLocks noGrp="1"/>
          </p:cNvSpPr>
          <p:nvPr>
            <p:ph idx="4294967295"/>
          </p:nvPr>
        </p:nvSpPr>
        <p:spPr>
          <a:xfrm>
            <a:off x="584200" y="3735388"/>
            <a:ext cx="5141913" cy="20701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500"/>
              <a:t>Communication can deliver information beyond what sensors can detect. E.g.:</a:t>
            </a:r>
          </a:p>
          <a:p>
            <a:pPr marL="492125" lvl="1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Status information (speed, location, heading, etc.) of each vehicle, even if it is not in line-of-sight</a:t>
            </a:r>
          </a:p>
          <a:p>
            <a:pPr marL="492125" lvl="1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Intention information (future planned trajectories, negotiation of future movement)</a:t>
            </a:r>
          </a:p>
          <a:p>
            <a:pPr marL="492125" lvl="1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Shared awareness (information exchange of detected objects, other events such as roadwork)</a:t>
            </a:r>
          </a:p>
        </p:txBody>
      </p:sp>
      <p:sp>
        <p:nvSpPr>
          <p:cNvPr id="18456" name="직사각형 36"/>
          <p:cNvSpPr>
            <a:spLocks noChangeArrowheads="1"/>
          </p:cNvSpPr>
          <p:nvPr/>
        </p:nvSpPr>
        <p:spPr bwMode="auto">
          <a:xfrm>
            <a:off x="911225" y="2600325"/>
            <a:ext cx="574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 b="1">
                <a:solidFill>
                  <a:srgbClr val="FF0000"/>
                </a:solidFill>
              </a:rPr>
              <a:t>HV</a:t>
            </a:r>
            <a:endParaRPr lang="ko-KR" altLang="en-US" sz="1200" b="1">
              <a:solidFill>
                <a:srgbClr val="FF0000"/>
              </a:solidFill>
            </a:endParaRPr>
          </a:p>
        </p:txBody>
      </p:sp>
      <p:pic>
        <p:nvPicPr>
          <p:cNvPr id="18457" name="그림 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3141663"/>
            <a:ext cx="261938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58" name="그림 660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2363" y="2838450"/>
            <a:ext cx="261937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59" name="그림 661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25" y="2852738"/>
            <a:ext cx="252095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60" name="그림 662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5565775"/>
            <a:ext cx="25193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61" name="그림 123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863" y="5345113"/>
            <a:ext cx="490537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62" name="직사각형 548"/>
          <p:cNvSpPr>
            <a:spLocks noChangeArrowheads="1"/>
          </p:cNvSpPr>
          <p:nvPr/>
        </p:nvSpPr>
        <p:spPr bwMode="auto">
          <a:xfrm>
            <a:off x="220663" y="1377950"/>
            <a:ext cx="2324100" cy="287338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I will change lane X seconds later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18463" name="직사각형 549"/>
          <p:cNvSpPr>
            <a:spLocks noChangeArrowheads="1"/>
          </p:cNvSpPr>
          <p:nvPr/>
        </p:nvSpPr>
        <p:spPr bwMode="auto">
          <a:xfrm>
            <a:off x="3654425" y="2022475"/>
            <a:ext cx="2324100" cy="287338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I’m here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18464" name="직사각형 562"/>
          <p:cNvSpPr>
            <a:spLocks noChangeArrowheads="1"/>
          </p:cNvSpPr>
          <p:nvPr/>
        </p:nvSpPr>
        <p:spPr bwMode="auto">
          <a:xfrm>
            <a:off x="6792913" y="1635125"/>
            <a:ext cx="3148012" cy="206375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I’m on the curved road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18465" name="직사각형 571"/>
          <p:cNvSpPr>
            <a:spLocks noChangeArrowheads="1"/>
          </p:cNvSpPr>
          <p:nvPr/>
        </p:nvSpPr>
        <p:spPr bwMode="auto">
          <a:xfrm>
            <a:off x="8818563" y="4581525"/>
            <a:ext cx="955675" cy="409575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Road work at location K</a:t>
            </a:r>
            <a:endParaRPr lang="ko-KR" altLang="en-US" sz="1200">
              <a:solidFill>
                <a:schemeClr val="tx1"/>
              </a:solidFill>
            </a:endParaRPr>
          </a:p>
        </p:txBody>
      </p:sp>
      <p:grpSp>
        <p:nvGrpSpPr>
          <p:cNvPr id="18466" name="그룹 71"/>
          <p:cNvGrpSpPr>
            <a:grpSpLocks/>
          </p:cNvGrpSpPr>
          <p:nvPr/>
        </p:nvGrpSpPr>
        <p:grpSpPr bwMode="auto">
          <a:xfrm rot="-9511606">
            <a:off x="1903413" y="1552575"/>
            <a:ext cx="447675" cy="400050"/>
            <a:chOff x="7833121" y="2348208"/>
            <a:chExt cx="648115" cy="597509"/>
          </a:xfrm>
        </p:grpSpPr>
        <p:sp>
          <p:nvSpPr>
            <p:cNvPr id="667" name="원호 666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68" name="원호 667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69" name="원호 668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0" name="원호 669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grpSp>
        <p:nvGrpSpPr>
          <p:cNvPr id="18467" name="그룹 71"/>
          <p:cNvGrpSpPr>
            <a:grpSpLocks/>
          </p:cNvGrpSpPr>
          <p:nvPr/>
        </p:nvGrpSpPr>
        <p:grpSpPr bwMode="auto">
          <a:xfrm rot="-9511606">
            <a:off x="4405313" y="2168525"/>
            <a:ext cx="447675" cy="400050"/>
            <a:chOff x="7833121" y="2348208"/>
            <a:chExt cx="648115" cy="597509"/>
          </a:xfrm>
        </p:grpSpPr>
        <p:sp>
          <p:nvSpPr>
            <p:cNvPr id="672" name="원호 671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3" name="원호 672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4" name="원호 673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5" name="원호 674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grpSp>
        <p:nvGrpSpPr>
          <p:cNvPr id="18468" name="그룹 71"/>
          <p:cNvGrpSpPr>
            <a:grpSpLocks/>
          </p:cNvGrpSpPr>
          <p:nvPr/>
        </p:nvGrpSpPr>
        <p:grpSpPr bwMode="auto">
          <a:xfrm rot="-9511606">
            <a:off x="7316788" y="1736725"/>
            <a:ext cx="447675" cy="400050"/>
            <a:chOff x="7833121" y="2348208"/>
            <a:chExt cx="648115" cy="597509"/>
          </a:xfrm>
        </p:grpSpPr>
        <p:sp>
          <p:nvSpPr>
            <p:cNvPr id="677" name="원호 676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8" name="원호 677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9" name="원호 678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0" name="원호 679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grpSp>
        <p:nvGrpSpPr>
          <p:cNvPr id="18469" name="그룹 71"/>
          <p:cNvGrpSpPr>
            <a:grpSpLocks/>
          </p:cNvGrpSpPr>
          <p:nvPr/>
        </p:nvGrpSpPr>
        <p:grpSpPr bwMode="auto">
          <a:xfrm rot="-9511606">
            <a:off x="8850313" y="4876800"/>
            <a:ext cx="447675" cy="400050"/>
            <a:chOff x="7833121" y="2348208"/>
            <a:chExt cx="648115" cy="597509"/>
          </a:xfrm>
        </p:grpSpPr>
        <p:sp>
          <p:nvSpPr>
            <p:cNvPr id="682" name="원호 681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3" name="원호 682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4" name="원호 683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5" name="원호 684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0EAFBE55-306B-2344-9597-50B44FF18184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7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0483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Or, even cloud computing can be supported</a:t>
            </a:r>
          </a:p>
        </p:txBody>
      </p:sp>
      <p:grpSp>
        <p:nvGrpSpPr>
          <p:cNvPr id="20484" name="그룹 2"/>
          <p:cNvGrpSpPr>
            <a:grpSpLocks/>
          </p:cNvGrpSpPr>
          <p:nvPr/>
        </p:nvGrpSpPr>
        <p:grpSpPr bwMode="auto">
          <a:xfrm>
            <a:off x="452438" y="2938463"/>
            <a:ext cx="1490662" cy="1066800"/>
            <a:chOff x="1601625" y="3381897"/>
            <a:chExt cx="2576480" cy="2329672"/>
          </a:xfrm>
        </p:grpSpPr>
        <p:grpSp>
          <p:nvGrpSpPr>
            <p:cNvPr id="20506" name="Group 27"/>
            <p:cNvGrpSpPr>
              <a:grpSpLocks noChangeAspect="1"/>
            </p:cNvGrpSpPr>
            <p:nvPr/>
          </p:nvGrpSpPr>
          <p:grpSpPr bwMode="auto">
            <a:xfrm>
              <a:off x="2317620" y="4102451"/>
              <a:ext cx="1578510" cy="933362"/>
              <a:chOff x="173" y="619"/>
              <a:chExt cx="5499" cy="2644"/>
            </a:xfrm>
          </p:grpSpPr>
          <p:sp>
            <p:nvSpPr>
              <p:cNvPr id="20518" name="Freeform 28"/>
              <p:cNvSpPr>
                <a:spLocks noChangeAspect="1"/>
              </p:cNvSpPr>
              <p:nvPr/>
            </p:nvSpPr>
            <p:spPr bwMode="auto">
              <a:xfrm>
                <a:off x="173" y="813"/>
                <a:ext cx="5499" cy="2253"/>
              </a:xfrm>
              <a:custGeom>
                <a:avLst/>
                <a:gdLst>
                  <a:gd name="T0" fmla="*/ 1 w 9242"/>
                  <a:gd name="T1" fmla="*/ 1 h 3786"/>
                  <a:gd name="T2" fmla="*/ 1 w 9242"/>
                  <a:gd name="T3" fmla="*/ 1 h 3786"/>
                  <a:gd name="T4" fmla="*/ 1 w 9242"/>
                  <a:gd name="T5" fmla="*/ 1 h 3786"/>
                  <a:gd name="T6" fmla="*/ 1 w 9242"/>
                  <a:gd name="T7" fmla="*/ 1 h 3786"/>
                  <a:gd name="T8" fmla="*/ 1 w 9242"/>
                  <a:gd name="T9" fmla="*/ 1 h 3786"/>
                  <a:gd name="T10" fmla="*/ 1 w 9242"/>
                  <a:gd name="T11" fmla="*/ 1 h 3786"/>
                  <a:gd name="T12" fmla="*/ 1 w 9242"/>
                  <a:gd name="T13" fmla="*/ 1 h 3786"/>
                  <a:gd name="T14" fmla="*/ 1 w 9242"/>
                  <a:gd name="T15" fmla="*/ 1 h 3786"/>
                  <a:gd name="T16" fmla="*/ 1 w 9242"/>
                  <a:gd name="T17" fmla="*/ 1 h 3786"/>
                  <a:gd name="T18" fmla="*/ 1 w 9242"/>
                  <a:gd name="T19" fmla="*/ 1 h 3786"/>
                  <a:gd name="T20" fmla="*/ 1 w 9242"/>
                  <a:gd name="T21" fmla="*/ 1 h 3786"/>
                  <a:gd name="T22" fmla="*/ 1 w 9242"/>
                  <a:gd name="T23" fmla="*/ 1 h 3786"/>
                  <a:gd name="T24" fmla="*/ 1 w 9242"/>
                  <a:gd name="T25" fmla="*/ 1 h 3786"/>
                  <a:gd name="T26" fmla="*/ 1 w 9242"/>
                  <a:gd name="T27" fmla="*/ 1 h 3786"/>
                  <a:gd name="T28" fmla="*/ 1 w 9242"/>
                  <a:gd name="T29" fmla="*/ 1 h 3786"/>
                  <a:gd name="T30" fmla="*/ 1 w 9242"/>
                  <a:gd name="T31" fmla="*/ 1 h 3786"/>
                  <a:gd name="T32" fmla="*/ 1 w 9242"/>
                  <a:gd name="T33" fmla="*/ 1 h 3786"/>
                  <a:gd name="T34" fmla="*/ 1 w 9242"/>
                  <a:gd name="T35" fmla="*/ 1 h 3786"/>
                  <a:gd name="T36" fmla="*/ 1 w 9242"/>
                  <a:gd name="T37" fmla="*/ 1 h 3786"/>
                  <a:gd name="T38" fmla="*/ 1 w 9242"/>
                  <a:gd name="T39" fmla="*/ 1 h 3786"/>
                  <a:gd name="T40" fmla="*/ 1 w 9242"/>
                  <a:gd name="T41" fmla="*/ 1 h 3786"/>
                  <a:gd name="T42" fmla="*/ 1 w 9242"/>
                  <a:gd name="T43" fmla="*/ 1 h 3786"/>
                  <a:gd name="T44" fmla="*/ 1 w 9242"/>
                  <a:gd name="T45" fmla="*/ 1 h 3786"/>
                  <a:gd name="T46" fmla="*/ 1 w 9242"/>
                  <a:gd name="T47" fmla="*/ 1 h 3786"/>
                  <a:gd name="T48" fmla="*/ 1 w 9242"/>
                  <a:gd name="T49" fmla="*/ 1 h 3786"/>
                  <a:gd name="T50" fmla="*/ 1 w 9242"/>
                  <a:gd name="T51" fmla="*/ 1 h 3786"/>
                  <a:gd name="T52" fmla="*/ 1 w 9242"/>
                  <a:gd name="T53" fmla="*/ 1 h 3786"/>
                  <a:gd name="T54" fmla="*/ 1 w 9242"/>
                  <a:gd name="T55" fmla="*/ 1 h 3786"/>
                  <a:gd name="T56" fmla="*/ 1 w 9242"/>
                  <a:gd name="T57" fmla="*/ 1 h 3786"/>
                  <a:gd name="T58" fmla="*/ 1 w 9242"/>
                  <a:gd name="T59" fmla="*/ 1 h 3786"/>
                  <a:gd name="T60" fmla="*/ 1 w 9242"/>
                  <a:gd name="T61" fmla="*/ 1 h 3786"/>
                  <a:gd name="T62" fmla="*/ 1 w 9242"/>
                  <a:gd name="T63" fmla="*/ 1 h 3786"/>
                  <a:gd name="T64" fmla="*/ 1 w 9242"/>
                  <a:gd name="T65" fmla="*/ 1 h 3786"/>
                  <a:gd name="T66" fmla="*/ 1 w 9242"/>
                  <a:gd name="T67" fmla="*/ 1 h 3786"/>
                  <a:gd name="T68" fmla="*/ 0 w 9242"/>
                  <a:gd name="T69" fmla="*/ 1 h 3786"/>
                  <a:gd name="T70" fmla="*/ 1 w 9242"/>
                  <a:gd name="T71" fmla="*/ 1 h 3786"/>
                  <a:gd name="T72" fmla="*/ 1 w 9242"/>
                  <a:gd name="T73" fmla="*/ 1 h 3786"/>
                  <a:gd name="T74" fmla="*/ 1 w 9242"/>
                  <a:gd name="T75" fmla="*/ 1 h 3786"/>
                  <a:gd name="T76" fmla="*/ 1 w 9242"/>
                  <a:gd name="T77" fmla="*/ 1 h 37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242"/>
                  <a:gd name="T118" fmla="*/ 0 h 3786"/>
                  <a:gd name="T119" fmla="*/ 9242 w 9242"/>
                  <a:gd name="T120" fmla="*/ 3786 h 378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242" h="3786">
                    <a:moveTo>
                      <a:pt x="444" y="208"/>
                    </a:moveTo>
                    <a:lnTo>
                      <a:pt x="498" y="186"/>
                    </a:lnTo>
                    <a:lnTo>
                      <a:pt x="520" y="143"/>
                    </a:lnTo>
                    <a:lnTo>
                      <a:pt x="535" y="136"/>
                    </a:lnTo>
                    <a:cubicBezTo>
                      <a:pt x="553" y="133"/>
                      <a:pt x="555" y="138"/>
                      <a:pt x="627" y="127"/>
                    </a:cubicBezTo>
                    <a:cubicBezTo>
                      <a:pt x="699" y="116"/>
                      <a:pt x="760" y="85"/>
                      <a:pt x="967" y="68"/>
                    </a:cubicBezTo>
                    <a:cubicBezTo>
                      <a:pt x="1174" y="51"/>
                      <a:pt x="1572" y="32"/>
                      <a:pt x="1867" y="27"/>
                    </a:cubicBezTo>
                    <a:cubicBezTo>
                      <a:pt x="2162" y="22"/>
                      <a:pt x="2456" y="37"/>
                      <a:pt x="2737" y="39"/>
                    </a:cubicBezTo>
                    <a:cubicBezTo>
                      <a:pt x="3018" y="41"/>
                      <a:pt x="3054" y="41"/>
                      <a:pt x="3556" y="41"/>
                    </a:cubicBezTo>
                    <a:cubicBezTo>
                      <a:pt x="4058" y="41"/>
                      <a:pt x="5224" y="44"/>
                      <a:pt x="5748" y="42"/>
                    </a:cubicBezTo>
                    <a:cubicBezTo>
                      <a:pt x="6272" y="40"/>
                      <a:pt x="6401" y="31"/>
                      <a:pt x="6700" y="26"/>
                    </a:cubicBezTo>
                    <a:cubicBezTo>
                      <a:pt x="6999" y="21"/>
                      <a:pt x="7278" y="0"/>
                      <a:pt x="7542" y="11"/>
                    </a:cubicBezTo>
                    <a:cubicBezTo>
                      <a:pt x="7806" y="22"/>
                      <a:pt x="8080" y="37"/>
                      <a:pt x="8286" y="92"/>
                    </a:cubicBezTo>
                    <a:cubicBezTo>
                      <a:pt x="8492" y="147"/>
                      <a:pt x="8639" y="193"/>
                      <a:pt x="8779" y="339"/>
                    </a:cubicBezTo>
                    <a:cubicBezTo>
                      <a:pt x="8919" y="485"/>
                      <a:pt x="9051" y="708"/>
                      <a:pt x="9128" y="968"/>
                    </a:cubicBezTo>
                    <a:cubicBezTo>
                      <a:pt x="9205" y="1228"/>
                      <a:pt x="9242" y="1590"/>
                      <a:pt x="9242" y="1897"/>
                    </a:cubicBezTo>
                    <a:cubicBezTo>
                      <a:pt x="9242" y="2204"/>
                      <a:pt x="9209" y="2550"/>
                      <a:pt x="9131" y="2809"/>
                    </a:cubicBezTo>
                    <a:cubicBezTo>
                      <a:pt x="9053" y="3068"/>
                      <a:pt x="8921" y="3301"/>
                      <a:pt x="8773" y="3450"/>
                    </a:cubicBezTo>
                    <a:cubicBezTo>
                      <a:pt x="8625" y="3600"/>
                      <a:pt x="8464" y="3647"/>
                      <a:pt x="8242" y="3702"/>
                    </a:cubicBezTo>
                    <a:cubicBezTo>
                      <a:pt x="8020" y="3757"/>
                      <a:pt x="7704" y="3770"/>
                      <a:pt x="7442" y="3778"/>
                    </a:cubicBezTo>
                    <a:cubicBezTo>
                      <a:pt x="7180" y="3786"/>
                      <a:pt x="6955" y="3754"/>
                      <a:pt x="6670" y="3749"/>
                    </a:cubicBezTo>
                    <a:cubicBezTo>
                      <a:pt x="6385" y="3744"/>
                      <a:pt x="6252" y="3748"/>
                      <a:pt x="5732" y="3747"/>
                    </a:cubicBezTo>
                    <a:cubicBezTo>
                      <a:pt x="5212" y="3746"/>
                      <a:pt x="4052" y="3743"/>
                      <a:pt x="3552" y="3743"/>
                    </a:cubicBezTo>
                    <a:cubicBezTo>
                      <a:pt x="3052" y="3743"/>
                      <a:pt x="3013" y="3746"/>
                      <a:pt x="2732" y="3749"/>
                    </a:cubicBezTo>
                    <a:cubicBezTo>
                      <a:pt x="2451" y="3752"/>
                      <a:pt x="2158" y="3764"/>
                      <a:pt x="1864" y="3759"/>
                    </a:cubicBezTo>
                    <a:cubicBezTo>
                      <a:pt x="1570" y="3753"/>
                      <a:pt x="1180" y="3733"/>
                      <a:pt x="970" y="3715"/>
                    </a:cubicBezTo>
                    <a:cubicBezTo>
                      <a:pt x="760" y="3698"/>
                      <a:pt x="677" y="3667"/>
                      <a:pt x="602" y="3655"/>
                    </a:cubicBezTo>
                    <a:cubicBezTo>
                      <a:pt x="527" y="3642"/>
                      <a:pt x="536" y="3651"/>
                      <a:pt x="518" y="3641"/>
                    </a:cubicBezTo>
                    <a:lnTo>
                      <a:pt x="496" y="3597"/>
                    </a:lnTo>
                    <a:lnTo>
                      <a:pt x="454" y="3579"/>
                    </a:lnTo>
                    <a:lnTo>
                      <a:pt x="438" y="3573"/>
                    </a:lnTo>
                    <a:cubicBezTo>
                      <a:pt x="408" y="3548"/>
                      <a:pt x="327" y="3508"/>
                      <a:pt x="276" y="3425"/>
                    </a:cubicBezTo>
                    <a:cubicBezTo>
                      <a:pt x="225" y="3341"/>
                      <a:pt x="168" y="3207"/>
                      <a:pt x="130" y="3072"/>
                    </a:cubicBezTo>
                    <a:cubicBezTo>
                      <a:pt x="92" y="2936"/>
                      <a:pt x="68" y="2806"/>
                      <a:pt x="46" y="2612"/>
                    </a:cubicBezTo>
                    <a:cubicBezTo>
                      <a:pt x="24" y="2419"/>
                      <a:pt x="0" y="2153"/>
                      <a:pt x="0" y="1913"/>
                    </a:cubicBezTo>
                    <a:cubicBezTo>
                      <a:pt x="0" y="1672"/>
                      <a:pt x="22" y="1368"/>
                      <a:pt x="45" y="1168"/>
                    </a:cubicBezTo>
                    <a:cubicBezTo>
                      <a:pt x="68" y="968"/>
                      <a:pt x="98" y="849"/>
                      <a:pt x="136" y="713"/>
                    </a:cubicBezTo>
                    <a:cubicBezTo>
                      <a:pt x="174" y="576"/>
                      <a:pt x="225" y="435"/>
                      <a:pt x="276" y="351"/>
                    </a:cubicBezTo>
                    <a:cubicBezTo>
                      <a:pt x="327" y="266"/>
                      <a:pt x="444" y="208"/>
                      <a:pt x="444" y="208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19" name="Freeform 29"/>
              <p:cNvSpPr>
                <a:spLocks noChangeAspect="1"/>
              </p:cNvSpPr>
              <p:nvPr/>
            </p:nvSpPr>
            <p:spPr bwMode="auto">
              <a:xfrm>
                <a:off x="5552" y="1492"/>
                <a:ext cx="108" cy="895"/>
              </a:xfrm>
              <a:custGeom>
                <a:avLst/>
                <a:gdLst>
                  <a:gd name="T0" fmla="*/ 4913 w 93"/>
                  <a:gd name="T1" fmla="*/ 13861 h 768"/>
                  <a:gd name="T2" fmla="*/ 27626 w 93"/>
                  <a:gd name="T3" fmla="*/ 173375 h 768"/>
                  <a:gd name="T4" fmla="*/ 40773 w 93"/>
                  <a:gd name="T5" fmla="*/ 434267 h 768"/>
                  <a:gd name="T6" fmla="*/ 25451 w 93"/>
                  <a:gd name="T7" fmla="*/ 697175 h 768"/>
                  <a:gd name="T8" fmla="*/ 0 w 93"/>
                  <a:gd name="T9" fmla="*/ 863517 h 768"/>
                  <a:gd name="T10" fmla="*/ 5705 w 93"/>
                  <a:gd name="T11" fmla="*/ 868063 h 768"/>
                  <a:gd name="T12" fmla="*/ 31190 w 93"/>
                  <a:gd name="T13" fmla="*/ 869355 h 768"/>
                  <a:gd name="T14" fmla="*/ 60731 w 93"/>
                  <a:gd name="T15" fmla="*/ 829336 h 768"/>
                  <a:gd name="T16" fmla="*/ 63855 w 93"/>
                  <a:gd name="T17" fmla="*/ 818007 h 768"/>
                  <a:gd name="T18" fmla="*/ 83691 w 93"/>
                  <a:gd name="T19" fmla="*/ 652396 h 768"/>
                  <a:gd name="T20" fmla="*/ 89275 w 93"/>
                  <a:gd name="T21" fmla="*/ 436967 h 768"/>
                  <a:gd name="T22" fmla="*/ 81901 w 93"/>
                  <a:gd name="T23" fmla="*/ 212427 h 768"/>
                  <a:gd name="T24" fmla="*/ 61733 w 93"/>
                  <a:gd name="T25" fmla="*/ 34720 h 768"/>
                  <a:gd name="T26" fmla="*/ 53159 w 93"/>
                  <a:gd name="T27" fmla="*/ 25738 h 768"/>
                  <a:gd name="T28" fmla="*/ 26991 w 93"/>
                  <a:gd name="T29" fmla="*/ 3 h 768"/>
                  <a:gd name="T30" fmla="*/ 10376 w 93"/>
                  <a:gd name="T31" fmla="*/ 7515 h 768"/>
                  <a:gd name="T32" fmla="*/ 4913 w 93"/>
                  <a:gd name="T33" fmla="*/ 13861 h 76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"/>
                  <a:gd name="T52" fmla="*/ 0 h 768"/>
                  <a:gd name="T53" fmla="*/ 93 w 93"/>
                  <a:gd name="T54" fmla="*/ 768 h 76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" h="768">
                    <a:moveTo>
                      <a:pt x="5" y="12"/>
                    </a:moveTo>
                    <a:cubicBezTo>
                      <a:pt x="8" y="36"/>
                      <a:pt x="23" y="91"/>
                      <a:pt x="29" y="153"/>
                    </a:cubicBezTo>
                    <a:cubicBezTo>
                      <a:pt x="35" y="215"/>
                      <a:pt x="43" y="305"/>
                      <a:pt x="42" y="381"/>
                    </a:cubicBezTo>
                    <a:cubicBezTo>
                      <a:pt x="41" y="457"/>
                      <a:pt x="33" y="548"/>
                      <a:pt x="26" y="611"/>
                    </a:cubicBezTo>
                    <a:cubicBezTo>
                      <a:pt x="19" y="674"/>
                      <a:pt x="3" y="732"/>
                      <a:pt x="0" y="757"/>
                    </a:cubicBezTo>
                    <a:lnTo>
                      <a:pt x="6" y="761"/>
                    </a:lnTo>
                    <a:cubicBezTo>
                      <a:pt x="11" y="762"/>
                      <a:pt x="22" y="768"/>
                      <a:pt x="32" y="762"/>
                    </a:cubicBezTo>
                    <a:cubicBezTo>
                      <a:pt x="41" y="757"/>
                      <a:pt x="56" y="735"/>
                      <a:pt x="62" y="728"/>
                    </a:cubicBezTo>
                    <a:lnTo>
                      <a:pt x="66" y="717"/>
                    </a:lnTo>
                    <a:cubicBezTo>
                      <a:pt x="70" y="691"/>
                      <a:pt x="82" y="628"/>
                      <a:pt x="86" y="572"/>
                    </a:cubicBezTo>
                    <a:cubicBezTo>
                      <a:pt x="90" y="516"/>
                      <a:pt x="93" y="447"/>
                      <a:pt x="93" y="383"/>
                    </a:cubicBezTo>
                    <a:cubicBezTo>
                      <a:pt x="93" y="319"/>
                      <a:pt x="89" y="245"/>
                      <a:pt x="84" y="186"/>
                    </a:cubicBezTo>
                    <a:cubicBezTo>
                      <a:pt x="79" y="127"/>
                      <a:pt x="68" y="57"/>
                      <a:pt x="63" y="30"/>
                    </a:cubicBezTo>
                    <a:lnTo>
                      <a:pt x="54" y="23"/>
                    </a:lnTo>
                    <a:cubicBezTo>
                      <a:pt x="48" y="19"/>
                      <a:pt x="35" y="6"/>
                      <a:pt x="28" y="3"/>
                    </a:cubicBezTo>
                    <a:cubicBezTo>
                      <a:pt x="21" y="0"/>
                      <a:pt x="14" y="6"/>
                      <a:pt x="10" y="7"/>
                    </a:cubicBezTo>
                    <a:lnTo>
                      <a:pt x="5" y="12"/>
                    </a:ln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0" name="Freeform 30"/>
              <p:cNvSpPr>
                <a:spLocks noChangeAspect="1"/>
              </p:cNvSpPr>
              <p:nvPr/>
            </p:nvSpPr>
            <p:spPr bwMode="auto">
              <a:xfrm>
                <a:off x="223" y="1141"/>
                <a:ext cx="385" cy="1602"/>
              </a:xfrm>
              <a:custGeom>
                <a:avLst/>
                <a:gdLst>
                  <a:gd name="T0" fmla="*/ 1 w 647"/>
                  <a:gd name="T1" fmla="*/ 1 h 2749"/>
                  <a:gd name="T2" fmla="*/ 1 w 647"/>
                  <a:gd name="T3" fmla="*/ 1 h 2749"/>
                  <a:gd name="T4" fmla="*/ 1 w 647"/>
                  <a:gd name="T5" fmla="*/ 1 h 2749"/>
                  <a:gd name="T6" fmla="*/ 1 w 647"/>
                  <a:gd name="T7" fmla="*/ 1 h 2749"/>
                  <a:gd name="T8" fmla="*/ 1 w 647"/>
                  <a:gd name="T9" fmla="*/ 1 h 2749"/>
                  <a:gd name="T10" fmla="*/ 1 w 647"/>
                  <a:gd name="T11" fmla="*/ 1 h 2749"/>
                  <a:gd name="T12" fmla="*/ 0 w 647"/>
                  <a:gd name="T13" fmla="*/ 1 h 2749"/>
                  <a:gd name="T14" fmla="*/ 1 w 647"/>
                  <a:gd name="T15" fmla="*/ 1 h 2749"/>
                  <a:gd name="T16" fmla="*/ 1 w 647"/>
                  <a:gd name="T17" fmla="*/ 1 h 2749"/>
                  <a:gd name="T18" fmla="*/ 1 w 647"/>
                  <a:gd name="T19" fmla="*/ 1 h 2749"/>
                  <a:gd name="T20" fmla="*/ 1 w 647"/>
                  <a:gd name="T21" fmla="*/ 1 h 2749"/>
                  <a:gd name="T22" fmla="*/ 1 w 647"/>
                  <a:gd name="T23" fmla="*/ 1 h 2749"/>
                  <a:gd name="T24" fmla="*/ 1 w 647"/>
                  <a:gd name="T25" fmla="*/ 1 h 27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47"/>
                  <a:gd name="T40" fmla="*/ 0 h 2749"/>
                  <a:gd name="T41" fmla="*/ 647 w 647"/>
                  <a:gd name="T42" fmla="*/ 2749 h 274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47" h="2749">
                    <a:moveTo>
                      <a:pt x="628" y="2635"/>
                    </a:moveTo>
                    <a:cubicBezTo>
                      <a:pt x="624" y="2645"/>
                      <a:pt x="645" y="2678"/>
                      <a:pt x="604" y="2695"/>
                    </a:cubicBezTo>
                    <a:cubicBezTo>
                      <a:pt x="563" y="2712"/>
                      <a:pt x="443" y="2749"/>
                      <a:pt x="382" y="2738"/>
                    </a:cubicBezTo>
                    <a:cubicBezTo>
                      <a:pt x="321" y="2727"/>
                      <a:pt x="287" y="2697"/>
                      <a:pt x="240" y="2627"/>
                    </a:cubicBezTo>
                    <a:cubicBezTo>
                      <a:pt x="193" y="2557"/>
                      <a:pt x="134" y="2430"/>
                      <a:pt x="100" y="2319"/>
                    </a:cubicBezTo>
                    <a:cubicBezTo>
                      <a:pt x="66" y="2208"/>
                      <a:pt x="53" y="2119"/>
                      <a:pt x="36" y="1959"/>
                    </a:cubicBezTo>
                    <a:cubicBezTo>
                      <a:pt x="19" y="1799"/>
                      <a:pt x="0" y="1553"/>
                      <a:pt x="0" y="1359"/>
                    </a:cubicBezTo>
                    <a:cubicBezTo>
                      <a:pt x="0" y="1165"/>
                      <a:pt x="19" y="944"/>
                      <a:pt x="37" y="792"/>
                    </a:cubicBezTo>
                    <a:cubicBezTo>
                      <a:pt x="55" y="640"/>
                      <a:pt x="77" y="560"/>
                      <a:pt x="111" y="449"/>
                    </a:cubicBezTo>
                    <a:cubicBezTo>
                      <a:pt x="145" y="338"/>
                      <a:pt x="198" y="198"/>
                      <a:pt x="240" y="125"/>
                    </a:cubicBezTo>
                    <a:cubicBezTo>
                      <a:pt x="282" y="52"/>
                      <a:pt x="303" y="22"/>
                      <a:pt x="363" y="11"/>
                    </a:cubicBezTo>
                    <a:cubicBezTo>
                      <a:pt x="423" y="0"/>
                      <a:pt x="559" y="43"/>
                      <a:pt x="603" y="59"/>
                    </a:cubicBezTo>
                    <a:cubicBezTo>
                      <a:pt x="647" y="75"/>
                      <a:pt x="621" y="102"/>
                      <a:pt x="625" y="110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1" name="Freeform 31"/>
              <p:cNvSpPr>
                <a:spLocks noChangeAspect="1"/>
              </p:cNvSpPr>
              <p:nvPr/>
            </p:nvSpPr>
            <p:spPr bwMode="auto">
              <a:xfrm>
                <a:off x="448" y="1155"/>
                <a:ext cx="311" cy="1565"/>
              </a:xfrm>
              <a:custGeom>
                <a:avLst/>
                <a:gdLst>
                  <a:gd name="T0" fmla="*/ 1 w 523"/>
                  <a:gd name="T1" fmla="*/ 1 h 2682"/>
                  <a:gd name="T2" fmla="*/ 1 w 523"/>
                  <a:gd name="T3" fmla="*/ 1 h 2682"/>
                  <a:gd name="T4" fmla="*/ 1 w 523"/>
                  <a:gd name="T5" fmla="*/ 1 h 2682"/>
                  <a:gd name="T6" fmla="*/ 1 w 523"/>
                  <a:gd name="T7" fmla="*/ 1 h 2682"/>
                  <a:gd name="T8" fmla="*/ 1 w 523"/>
                  <a:gd name="T9" fmla="*/ 1 h 2682"/>
                  <a:gd name="T10" fmla="*/ 1 w 523"/>
                  <a:gd name="T11" fmla="*/ 1 h 2682"/>
                  <a:gd name="T12" fmla="*/ 1 w 523"/>
                  <a:gd name="T13" fmla="*/ 1 h 26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3"/>
                  <a:gd name="T22" fmla="*/ 0 h 2682"/>
                  <a:gd name="T23" fmla="*/ 523 w 523"/>
                  <a:gd name="T24" fmla="*/ 2682 h 26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3" h="2682">
                    <a:moveTo>
                      <a:pt x="523" y="2682"/>
                    </a:moveTo>
                    <a:cubicBezTo>
                      <a:pt x="469" y="2662"/>
                      <a:pt x="279" y="2669"/>
                      <a:pt x="197" y="2559"/>
                    </a:cubicBezTo>
                    <a:cubicBezTo>
                      <a:pt x="115" y="2449"/>
                      <a:pt x="66" y="2226"/>
                      <a:pt x="33" y="2023"/>
                    </a:cubicBezTo>
                    <a:cubicBezTo>
                      <a:pt x="0" y="1820"/>
                      <a:pt x="0" y="1567"/>
                      <a:pt x="1" y="1339"/>
                    </a:cubicBezTo>
                    <a:cubicBezTo>
                      <a:pt x="2" y="1111"/>
                      <a:pt x="4" y="860"/>
                      <a:pt x="41" y="655"/>
                    </a:cubicBezTo>
                    <a:cubicBezTo>
                      <a:pt x="78" y="450"/>
                      <a:pt x="145" y="214"/>
                      <a:pt x="225" y="107"/>
                    </a:cubicBezTo>
                    <a:cubicBezTo>
                      <a:pt x="305" y="0"/>
                      <a:pt x="461" y="32"/>
                      <a:pt x="523" y="12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2" name="Freeform 32"/>
              <p:cNvSpPr>
                <a:spLocks noChangeAspect="1"/>
              </p:cNvSpPr>
              <p:nvPr/>
            </p:nvSpPr>
            <p:spPr bwMode="auto">
              <a:xfrm>
                <a:off x="434" y="1007"/>
                <a:ext cx="332" cy="1861"/>
              </a:xfrm>
              <a:custGeom>
                <a:avLst/>
                <a:gdLst>
                  <a:gd name="T0" fmla="*/ 0 w 558"/>
                  <a:gd name="T1" fmla="*/ 1 h 3174"/>
                  <a:gd name="T2" fmla="*/ 1 w 558"/>
                  <a:gd name="T3" fmla="*/ 1 h 3174"/>
                  <a:gd name="T4" fmla="*/ 1 w 558"/>
                  <a:gd name="T5" fmla="*/ 1 h 3174"/>
                  <a:gd name="T6" fmla="*/ 1 w 558"/>
                  <a:gd name="T7" fmla="*/ 1 h 3174"/>
                  <a:gd name="T8" fmla="*/ 1 w 558"/>
                  <a:gd name="T9" fmla="*/ 1 h 3174"/>
                  <a:gd name="T10" fmla="*/ 1 w 558"/>
                  <a:gd name="T11" fmla="*/ 1 h 3174"/>
                  <a:gd name="T12" fmla="*/ 1 w 558"/>
                  <a:gd name="T13" fmla="*/ 1 h 3174"/>
                  <a:gd name="T14" fmla="*/ 1 w 558"/>
                  <a:gd name="T15" fmla="*/ 1 h 3174"/>
                  <a:gd name="T16" fmla="*/ 1 w 558"/>
                  <a:gd name="T17" fmla="*/ 1 h 3174"/>
                  <a:gd name="T18" fmla="*/ 1 w 558"/>
                  <a:gd name="T19" fmla="*/ 1 h 3174"/>
                  <a:gd name="T20" fmla="*/ 1 w 558"/>
                  <a:gd name="T21" fmla="*/ 1 h 3174"/>
                  <a:gd name="T22" fmla="*/ 1 w 558"/>
                  <a:gd name="T23" fmla="*/ 1 h 3174"/>
                  <a:gd name="T24" fmla="*/ 1 w 558"/>
                  <a:gd name="T25" fmla="*/ 1 h 3174"/>
                  <a:gd name="T26" fmla="*/ 1 w 558"/>
                  <a:gd name="T27" fmla="*/ 1 h 3174"/>
                  <a:gd name="T28" fmla="*/ 1 w 558"/>
                  <a:gd name="T29" fmla="*/ 0 h 317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8"/>
                  <a:gd name="T46" fmla="*/ 0 h 3174"/>
                  <a:gd name="T47" fmla="*/ 558 w 558"/>
                  <a:gd name="T48" fmla="*/ 3174 h 317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8" h="3174">
                    <a:moveTo>
                      <a:pt x="0" y="3174"/>
                    </a:moveTo>
                    <a:cubicBezTo>
                      <a:pt x="16" y="3160"/>
                      <a:pt x="41" y="3114"/>
                      <a:pt x="95" y="3090"/>
                    </a:cubicBezTo>
                    <a:cubicBezTo>
                      <a:pt x="149" y="3066"/>
                      <a:pt x="254" y="3050"/>
                      <a:pt x="326" y="3027"/>
                    </a:cubicBezTo>
                    <a:cubicBezTo>
                      <a:pt x="398" y="3004"/>
                      <a:pt x="491" y="2965"/>
                      <a:pt x="528" y="2949"/>
                    </a:cubicBezTo>
                    <a:lnTo>
                      <a:pt x="546" y="2932"/>
                    </a:lnTo>
                    <a:lnTo>
                      <a:pt x="555" y="2910"/>
                    </a:lnTo>
                    <a:cubicBezTo>
                      <a:pt x="552" y="2814"/>
                      <a:pt x="534" y="2575"/>
                      <a:pt x="525" y="2355"/>
                    </a:cubicBezTo>
                    <a:cubicBezTo>
                      <a:pt x="516" y="2135"/>
                      <a:pt x="505" y="1834"/>
                      <a:pt x="503" y="1591"/>
                    </a:cubicBezTo>
                    <a:cubicBezTo>
                      <a:pt x="501" y="1348"/>
                      <a:pt x="506" y="1114"/>
                      <a:pt x="515" y="897"/>
                    </a:cubicBezTo>
                    <a:cubicBezTo>
                      <a:pt x="524" y="680"/>
                      <a:pt x="552" y="394"/>
                      <a:pt x="558" y="289"/>
                    </a:cubicBezTo>
                    <a:lnTo>
                      <a:pt x="552" y="264"/>
                    </a:lnTo>
                    <a:lnTo>
                      <a:pt x="530" y="244"/>
                    </a:lnTo>
                    <a:cubicBezTo>
                      <a:pt x="494" y="227"/>
                      <a:pt x="411" y="188"/>
                      <a:pt x="338" y="162"/>
                    </a:cubicBezTo>
                    <a:cubicBezTo>
                      <a:pt x="265" y="136"/>
                      <a:pt x="149" y="113"/>
                      <a:pt x="93" y="86"/>
                    </a:cubicBezTo>
                    <a:cubicBezTo>
                      <a:pt x="37" y="59"/>
                      <a:pt x="21" y="18"/>
                      <a:pt x="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3" name="Freeform 33"/>
              <p:cNvSpPr>
                <a:spLocks noChangeAspect="1"/>
              </p:cNvSpPr>
              <p:nvPr/>
            </p:nvSpPr>
            <p:spPr bwMode="auto">
              <a:xfrm>
                <a:off x="5580" y="1493"/>
                <a:ext cx="51" cy="886"/>
              </a:xfrm>
              <a:custGeom>
                <a:avLst/>
                <a:gdLst>
                  <a:gd name="T0" fmla="*/ 2 w 44"/>
                  <a:gd name="T1" fmla="*/ 0 h 760"/>
                  <a:gd name="T2" fmla="*/ 24590 w 44"/>
                  <a:gd name="T3" fmla="*/ 155606 h 760"/>
                  <a:gd name="T4" fmla="*/ 39599 w 44"/>
                  <a:gd name="T5" fmla="*/ 423887 h 760"/>
                  <a:gd name="T6" fmla="*/ 27766 w 44"/>
                  <a:gd name="T7" fmla="*/ 670795 h 760"/>
                  <a:gd name="T8" fmla="*/ 0 w 44"/>
                  <a:gd name="T9" fmla="*/ 881816 h 7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760"/>
                  <a:gd name="T17" fmla="*/ 44 w 44"/>
                  <a:gd name="T18" fmla="*/ 760 h 7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760">
                    <a:moveTo>
                      <a:pt x="2" y="0"/>
                    </a:moveTo>
                    <a:cubicBezTo>
                      <a:pt x="6" y="22"/>
                      <a:pt x="21" y="74"/>
                      <a:pt x="28" y="135"/>
                    </a:cubicBezTo>
                    <a:cubicBezTo>
                      <a:pt x="35" y="196"/>
                      <a:pt x="44" y="291"/>
                      <a:pt x="44" y="365"/>
                    </a:cubicBezTo>
                    <a:cubicBezTo>
                      <a:pt x="44" y="439"/>
                      <a:pt x="37" y="512"/>
                      <a:pt x="30" y="578"/>
                    </a:cubicBezTo>
                    <a:cubicBezTo>
                      <a:pt x="23" y="644"/>
                      <a:pt x="6" y="722"/>
                      <a:pt x="0" y="76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4" name="Freeform 34"/>
              <p:cNvSpPr>
                <a:spLocks noChangeAspect="1"/>
              </p:cNvSpPr>
              <p:nvPr/>
            </p:nvSpPr>
            <p:spPr bwMode="auto">
              <a:xfrm>
                <a:off x="5603" y="1508"/>
                <a:ext cx="46" cy="857"/>
              </a:xfrm>
              <a:custGeom>
                <a:avLst/>
                <a:gdLst>
                  <a:gd name="T0" fmla="*/ 0 w 39"/>
                  <a:gd name="T1" fmla="*/ 0 h 735"/>
                  <a:gd name="T2" fmla="*/ 48143 w 39"/>
                  <a:gd name="T3" fmla="*/ 160952 h 735"/>
                  <a:gd name="T4" fmla="*/ 76892 w 39"/>
                  <a:gd name="T5" fmla="*/ 414481 h 735"/>
                  <a:gd name="T6" fmla="*/ 55271 w 39"/>
                  <a:gd name="T7" fmla="*/ 663207 h 735"/>
                  <a:gd name="T8" fmla="*/ 1 w 39"/>
                  <a:gd name="T9" fmla="*/ 858657 h 7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735"/>
                  <a:gd name="T17" fmla="*/ 39 w 39"/>
                  <a:gd name="T18" fmla="*/ 735 h 7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735">
                    <a:moveTo>
                      <a:pt x="0" y="0"/>
                    </a:moveTo>
                    <a:cubicBezTo>
                      <a:pt x="4" y="23"/>
                      <a:pt x="19" y="79"/>
                      <a:pt x="25" y="138"/>
                    </a:cubicBezTo>
                    <a:cubicBezTo>
                      <a:pt x="31" y="197"/>
                      <a:pt x="39" y="283"/>
                      <a:pt x="39" y="354"/>
                    </a:cubicBezTo>
                    <a:cubicBezTo>
                      <a:pt x="39" y="425"/>
                      <a:pt x="34" y="504"/>
                      <a:pt x="28" y="567"/>
                    </a:cubicBezTo>
                    <a:cubicBezTo>
                      <a:pt x="22" y="630"/>
                      <a:pt x="7" y="700"/>
                      <a:pt x="1" y="73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5" name="Freeform 35"/>
              <p:cNvSpPr>
                <a:spLocks noChangeAspect="1"/>
              </p:cNvSpPr>
              <p:nvPr/>
            </p:nvSpPr>
            <p:spPr bwMode="auto">
              <a:xfrm>
                <a:off x="3395" y="999"/>
                <a:ext cx="1116" cy="1884"/>
              </a:xfrm>
              <a:custGeom>
                <a:avLst/>
                <a:gdLst>
                  <a:gd name="T0" fmla="*/ 1 w 1875"/>
                  <a:gd name="T1" fmla="*/ 1 h 3187"/>
                  <a:gd name="T2" fmla="*/ 1 w 1875"/>
                  <a:gd name="T3" fmla="*/ 1 h 3187"/>
                  <a:gd name="T4" fmla="*/ 1 w 1875"/>
                  <a:gd name="T5" fmla="*/ 1 h 3187"/>
                  <a:gd name="T6" fmla="*/ 1 w 1875"/>
                  <a:gd name="T7" fmla="*/ 1 h 3187"/>
                  <a:gd name="T8" fmla="*/ 1 w 1875"/>
                  <a:gd name="T9" fmla="*/ 1 h 3187"/>
                  <a:gd name="T10" fmla="*/ 1 w 1875"/>
                  <a:gd name="T11" fmla="*/ 1 h 3187"/>
                  <a:gd name="T12" fmla="*/ 1 w 1875"/>
                  <a:gd name="T13" fmla="*/ 1 h 3187"/>
                  <a:gd name="T14" fmla="*/ 1 w 1875"/>
                  <a:gd name="T15" fmla="*/ 1 h 3187"/>
                  <a:gd name="T16" fmla="*/ 1 w 1875"/>
                  <a:gd name="T17" fmla="*/ 1 h 3187"/>
                  <a:gd name="T18" fmla="*/ 1 w 1875"/>
                  <a:gd name="T19" fmla="*/ 1 h 3187"/>
                  <a:gd name="T20" fmla="*/ 1 w 1875"/>
                  <a:gd name="T21" fmla="*/ 1 h 3187"/>
                  <a:gd name="T22" fmla="*/ 1 w 1875"/>
                  <a:gd name="T23" fmla="*/ 1 h 3187"/>
                  <a:gd name="T24" fmla="*/ 1 w 1875"/>
                  <a:gd name="T25" fmla="*/ 1 h 3187"/>
                  <a:gd name="T26" fmla="*/ 1 w 1875"/>
                  <a:gd name="T27" fmla="*/ 1 h 3187"/>
                  <a:gd name="T28" fmla="*/ 1 w 1875"/>
                  <a:gd name="T29" fmla="*/ 1 h 3187"/>
                  <a:gd name="T30" fmla="*/ 1 w 1875"/>
                  <a:gd name="T31" fmla="*/ 1 h 3187"/>
                  <a:gd name="T32" fmla="*/ 1 w 1875"/>
                  <a:gd name="T33" fmla="*/ 1 h 3187"/>
                  <a:gd name="T34" fmla="*/ 1 w 1875"/>
                  <a:gd name="T35" fmla="*/ 1 h 3187"/>
                  <a:gd name="T36" fmla="*/ 1 w 1875"/>
                  <a:gd name="T37" fmla="*/ 1 h 3187"/>
                  <a:gd name="T38" fmla="*/ 1 w 1875"/>
                  <a:gd name="T39" fmla="*/ 1 h 3187"/>
                  <a:gd name="T40" fmla="*/ 1 w 1875"/>
                  <a:gd name="T41" fmla="*/ 1 h 3187"/>
                  <a:gd name="T42" fmla="*/ 1 w 1875"/>
                  <a:gd name="T43" fmla="*/ 1 h 3187"/>
                  <a:gd name="T44" fmla="*/ 1 w 1875"/>
                  <a:gd name="T45" fmla="*/ 1 h 3187"/>
                  <a:gd name="T46" fmla="*/ 1 w 1875"/>
                  <a:gd name="T47" fmla="*/ 1 h 3187"/>
                  <a:gd name="T48" fmla="*/ 1 w 1875"/>
                  <a:gd name="T49" fmla="*/ 1 h 31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75"/>
                  <a:gd name="T76" fmla="*/ 0 h 3187"/>
                  <a:gd name="T77" fmla="*/ 1875 w 1875"/>
                  <a:gd name="T78" fmla="*/ 3187 h 31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75" h="3187">
                    <a:moveTo>
                      <a:pt x="157" y="1535"/>
                    </a:moveTo>
                    <a:cubicBezTo>
                      <a:pt x="160" y="1666"/>
                      <a:pt x="147" y="1762"/>
                      <a:pt x="138" y="1887"/>
                    </a:cubicBezTo>
                    <a:cubicBezTo>
                      <a:pt x="129" y="2012"/>
                      <a:pt x="116" y="2177"/>
                      <a:pt x="104" y="2285"/>
                    </a:cubicBezTo>
                    <a:cubicBezTo>
                      <a:pt x="92" y="2393"/>
                      <a:pt x="81" y="2443"/>
                      <a:pt x="64" y="2538"/>
                    </a:cubicBezTo>
                    <a:cubicBezTo>
                      <a:pt x="47" y="2633"/>
                      <a:pt x="2" y="2779"/>
                      <a:pt x="1" y="2853"/>
                    </a:cubicBezTo>
                    <a:cubicBezTo>
                      <a:pt x="0" y="2927"/>
                      <a:pt x="25" y="2954"/>
                      <a:pt x="60" y="2985"/>
                    </a:cubicBezTo>
                    <a:cubicBezTo>
                      <a:pt x="95" y="3016"/>
                      <a:pt x="124" y="3020"/>
                      <a:pt x="214" y="3041"/>
                    </a:cubicBezTo>
                    <a:cubicBezTo>
                      <a:pt x="304" y="3062"/>
                      <a:pt x="430" y="3087"/>
                      <a:pt x="603" y="3110"/>
                    </a:cubicBezTo>
                    <a:cubicBezTo>
                      <a:pt x="776" y="3133"/>
                      <a:pt x="1093" y="3187"/>
                      <a:pt x="1251" y="3180"/>
                    </a:cubicBezTo>
                    <a:cubicBezTo>
                      <a:pt x="1409" y="3173"/>
                      <a:pt x="1474" y="3147"/>
                      <a:pt x="1551" y="3066"/>
                    </a:cubicBezTo>
                    <a:cubicBezTo>
                      <a:pt x="1628" y="2985"/>
                      <a:pt x="1667" y="2847"/>
                      <a:pt x="1714" y="2693"/>
                    </a:cubicBezTo>
                    <a:cubicBezTo>
                      <a:pt x="1761" y="2539"/>
                      <a:pt x="1803" y="2329"/>
                      <a:pt x="1830" y="2144"/>
                    </a:cubicBezTo>
                    <a:cubicBezTo>
                      <a:pt x="1857" y="1959"/>
                      <a:pt x="1875" y="1772"/>
                      <a:pt x="1875" y="1580"/>
                    </a:cubicBezTo>
                    <a:cubicBezTo>
                      <a:pt x="1875" y="1388"/>
                      <a:pt x="1855" y="1165"/>
                      <a:pt x="1832" y="994"/>
                    </a:cubicBezTo>
                    <a:cubicBezTo>
                      <a:pt x="1809" y="823"/>
                      <a:pt x="1778" y="694"/>
                      <a:pt x="1736" y="553"/>
                    </a:cubicBezTo>
                    <a:cubicBezTo>
                      <a:pt x="1694" y="412"/>
                      <a:pt x="1653" y="236"/>
                      <a:pt x="1578" y="146"/>
                    </a:cubicBezTo>
                    <a:cubicBezTo>
                      <a:pt x="1503" y="56"/>
                      <a:pt x="1444" y="22"/>
                      <a:pt x="1284" y="11"/>
                    </a:cubicBezTo>
                    <a:cubicBezTo>
                      <a:pt x="1124" y="0"/>
                      <a:pt x="799" y="56"/>
                      <a:pt x="615" y="81"/>
                    </a:cubicBezTo>
                    <a:cubicBezTo>
                      <a:pt x="431" y="106"/>
                      <a:pt x="274" y="134"/>
                      <a:pt x="180" y="159"/>
                    </a:cubicBezTo>
                    <a:cubicBezTo>
                      <a:pt x="86" y="184"/>
                      <a:pt x="76" y="199"/>
                      <a:pt x="49" y="230"/>
                    </a:cubicBezTo>
                    <a:cubicBezTo>
                      <a:pt x="22" y="261"/>
                      <a:pt x="14" y="289"/>
                      <a:pt x="15" y="344"/>
                    </a:cubicBezTo>
                    <a:cubicBezTo>
                      <a:pt x="16" y="399"/>
                      <a:pt x="38" y="474"/>
                      <a:pt x="54" y="560"/>
                    </a:cubicBezTo>
                    <a:cubicBezTo>
                      <a:pt x="70" y="646"/>
                      <a:pt x="93" y="751"/>
                      <a:pt x="108" y="858"/>
                    </a:cubicBezTo>
                    <a:cubicBezTo>
                      <a:pt x="123" y="965"/>
                      <a:pt x="133" y="1092"/>
                      <a:pt x="141" y="1205"/>
                    </a:cubicBezTo>
                    <a:cubicBezTo>
                      <a:pt x="149" y="1318"/>
                      <a:pt x="154" y="1466"/>
                      <a:pt x="157" y="153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6" name="Freeform 36"/>
              <p:cNvSpPr>
                <a:spLocks noChangeAspect="1"/>
              </p:cNvSpPr>
              <p:nvPr/>
            </p:nvSpPr>
            <p:spPr bwMode="auto">
              <a:xfrm>
                <a:off x="204" y="1260"/>
                <a:ext cx="79" cy="1358"/>
              </a:xfrm>
              <a:custGeom>
                <a:avLst/>
                <a:gdLst>
                  <a:gd name="T0" fmla="*/ 1 w 132"/>
                  <a:gd name="T1" fmla="*/ 1 h 2324"/>
                  <a:gd name="T2" fmla="*/ 1 w 132"/>
                  <a:gd name="T3" fmla="*/ 1 h 2324"/>
                  <a:gd name="T4" fmla="*/ 0 w 132"/>
                  <a:gd name="T5" fmla="*/ 1 h 2324"/>
                  <a:gd name="T6" fmla="*/ 1 w 132"/>
                  <a:gd name="T7" fmla="*/ 1 h 2324"/>
                  <a:gd name="T8" fmla="*/ 1 w 132"/>
                  <a:gd name="T9" fmla="*/ 0 h 2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2324"/>
                  <a:gd name="T17" fmla="*/ 132 w 132"/>
                  <a:gd name="T18" fmla="*/ 2324 h 23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2324">
                    <a:moveTo>
                      <a:pt x="132" y="2324"/>
                    </a:moveTo>
                    <a:cubicBezTo>
                      <a:pt x="115" y="2233"/>
                      <a:pt x="54" y="1968"/>
                      <a:pt x="32" y="1776"/>
                    </a:cubicBezTo>
                    <a:cubicBezTo>
                      <a:pt x="10" y="1584"/>
                      <a:pt x="0" y="1381"/>
                      <a:pt x="0" y="1172"/>
                    </a:cubicBezTo>
                    <a:cubicBezTo>
                      <a:pt x="0" y="963"/>
                      <a:pt x="10" y="719"/>
                      <a:pt x="32" y="524"/>
                    </a:cubicBezTo>
                    <a:cubicBezTo>
                      <a:pt x="54" y="329"/>
                      <a:pt x="111" y="109"/>
                      <a:pt x="13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7" name="Freeform 37"/>
              <p:cNvSpPr>
                <a:spLocks noChangeAspect="1"/>
              </p:cNvSpPr>
              <p:nvPr/>
            </p:nvSpPr>
            <p:spPr bwMode="auto">
              <a:xfrm>
                <a:off x="454" y="1687"/>
                <a:ext cx="48" cy="502"/>
              </a:xfrm>
              <a:custGeom>
                <a:avLst/>
                <a:gdLst>
                  <a:gd name="T0" fmla="*/ 0 w 80"/>
                  <a:gd name="T1" fmla="*/ 1 h 876"/>
                  <a:gd name="T2" fmla="*/ 1 w 80"/>
                  <a:gd name="T3" fmla="*/ 1 h 876"/>
                  <a:gd name="T4" fmla="*/ 1 w 80"/>
                  <a:gd name="T5" fmla="*/ 1 h 876"/>
                  <a:gd name="T6" fmla="*/ 1 w 80"/>
                  <a:gd name="T7" fmla="*/ 0 h 8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876"/>
                  <a:gd name="T14" fmla="*/ 80 w 80"/>
                  <a:gd name="T15" fmla="*/ 876 h 8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876">
                    <a:moveTo>
                      <a:pt x="0" y="876"/>
                    </a:moveTo>
                    <a:lnTo>
                      <a:pt x="76" y="854"/>
                    </a:lnTo>
                    <a:lnTo>
                      <a:pt x="80" y="22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8" name="Freeform 38"/>
              <p:cNvSpPr>
                <a:spLocks noChangeAspect="1"/>
              </p:cNvSpPr>
              <p:nvPr/>
            </p:nvSpPr>
            <p:spPr bwMode="auto">
              <a:xfrm>
                <a:off x="756" y="240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9" name="Freeform 39"/>
              <p:cNvSpPr>
                <a:spLocks noChangeAspect="1"/>
              </p:cNvSpPr>
              <p:nvPr/>
            </p:nvSpPr>
            <p:spPr bwMode="auto">
              <a:xfrm>
                <a:off x="4411" y="2377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0" name="Freeform 40"/>
              <p:cNvSpPr>
                <a:spLocks noChangeAspect="1"/>
              </p:cNvSpPr>
              <p:nvPr/>
            </p:nvSpPr>
            <p:spPr bwMode="auto">
              <a:xfrm>
                <a:off x="4229" y="2868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1" name="Freeform 41"/>
              <p:cNvSpPr>
                <a:spLocks noChangeAspect="1"/>
              </p:cNvSpPr>
              <p:nvPr/>
            </p:nvSpPr>
            <p:spPr bwMode="auto">
              <a:xfrm>
                <a:off x="5001" y="2523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2" name="Freeform 42"/>
              <p:cNvSpPr>
                <a:spLocks noChangeAspect="1"/>
              </p:cNvSpPr>
              <p:nvPr/>
            </p:nvSpPr>
            <p:spPr bwMode="auto">
              <a:xfrm>
                <a:off x="4973" y="2379"/>
                <a:ext cx="617" cy="657"/>
              </a:xfrm>
              <a:custGeom>
                <a:avLst/>
                <a:gdLst>
                  <a:gd name="T0" fmla="*/ 1 w 1038"/>
                  <a:gd name="T1" fmla="*/ 0 h 1102"/>
                  <a:gd name="T2" fmla="*/ 1 w 1038"/>
                  <a:gd name="T3" fmla="*/ 1 h 1102"/>
                  <a:gd name="T4" fmla="*/ 1 w 1038"/>
                  <a:gd name="T5" fmla="*/ 1 h 1102"/>
                  <a:gd name="T6" fmla="*/ 1 w 1038"/>
                  <a:gd name="T7" fmla="*/ 1 h 1102"/>
                  <a:gd name="T8" fmla="*/ 1 w 1038"/>
                  <a:gd name="T9" fmla="*/ 1 h 1102"/>
                  <a:gd name="T10" fmla="*/ 0 w 1038"/>
                  <a:gd name="T11" fmla="*/ 1 h 110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8"/>
                  <a:gd name="T19" fmla="*/ 0 h 1102"/>
                  <a:gd name="T20" fmla="*/ 1038 w 1038"/>
                  <a:gd name="T21" fmla="*/ 1102 h 110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8" h="1102">
                    <a:moveTo>
                      <a:pt x="1038" y="0"/>
                    </a:moveTo>
                    <a:cubicBezTo>
                      <a:pt x="1020" y="60"/>
                      <a:pt x="978" y="245"/>
                      <a:pt x="931" y="360"/>
                    </a:cubicBezTo>
                    <a:cubicBezTo>
                      <a:pt x="884" y="475"/>
                      <a:pt x="813" y="604"/>
                      <a:pt x="754" y="690"/>
                    </a:cubicBezTo>
                    <a:cubicBezTo>
                      <a:pt x="695" y="776"/>
                      <a:pt x="650" y="822"/>
                      <a:pt x="577" y="876"/>
                    </a:cubicBezTo>
                    <a:cubicBezTo>
                      <a:pt x="504" y="930"/>
                      <a:pt x="412" y="979"/>
                      <a:pt x="316" y="1017"/>
                    </a:cubicBezTo>
                    <a:cubicBezTo>
                      <a:pt x="220" y="1055"/>
                      <a:pt x="66" y="1084"/>
                      <a:pt x="0" y="110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3" name="Freeform 43"/>
              <p:cNvSpPr>
                <a:spLocks noChangeAspect="1"/>
              </p:cNvSpPr>
              <p:nvPr/>
            </p:nvSpPr>
            <p:spPr bwMode="auto">
              <a:xfrm>
                <a:off x="5028" y="252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4" name="Freeform 44"/>
              <p:cNvSpPr>
                <a:spLocks noChangeAspect="1"/>
              </p:cNvSpPr>
              <p:nvPr/>
            </p:nvSpPr>
            <p:spPr bwMode="auto">
              <a:xfrm>
                <a:off x="3863" y="2477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5" name="Freeform 45"/>
              <p:cNvSpPr>
                <a:spLocks noChangeAspect="1"/>
              </p:cNvSpPr>
              <p:nvPr/>
            </p:nvSpPr>
            <p:spPr bwMode="auto">
              <a:xfrm>
                <a:off x="1505" y="2791"/>
                <a:ext cx="2561" cy="257"/>
              </a:xfrm>
              <a:custGeom>
                <a:avLst/>
                <a:gdLst>
                  <a:gd name="T0" fmla="*/ 1 w 4303"/>
                  <a:gd name="T1" fmla="*/ 1 h 432"/>
                  <a:gd name="T2" fmla="*/ 1 w 4303"/>
                  <a:gd name="T3" fmla="*/ 1 h 432"/>
                  <a:gd name="T4" fmla="*/ 1 w 4303"/>
                  <a:gd name="T5" fmla="*/ 1 h 432"/>
                  <a:gd name="T6" fmla="*/ 1 w 4303"/>
                  <a:gd name="T7" fmla="*/ 1 h 432"/>
                  <a:gd name="T8" fmla="*/ 1 w 4303"/>
                  <a:gd name="T9" fmla="*/ 1 h 432"/>
                  <a:gd name="T10" fmla="*/ 1 w 4303"/>
                  <a:gd name="T11" fmla="*/ 1 h 432"/>
                  <a:gd name="T12" fmla="*/ 1 w 4303"/>
                  <a:gd name="T13" fmla="*/ 1 h 432"/>
                  <a:gd name="T14" fmla="*/ 1 w 4303"/>
                  <a:gd name="T15" fmla="*/ 1 h 432"/>
                  <a:gd name="T16" fmla="*/ 1 w 4303"/>
                  <a:gd name="T17" fmla="*/ 0 h 432"/>
                  <a:gd name="T18" fmla="*/ 1 w 4303"/>
                  <a:gd name="T19" fmla="*/ 1 h 432"/>
                  <a:gd name="T20" fmla="*/ 1 w 4303"/>
                  <a:gd name="T21" fmla="*/ 1 h 432"/>
                  <a:gd name="T22" fmla="*/ 0 w 4303"/>
                  <a:gd name="T23" fmla="*/ 1 h 432"/>
                  <a:gd name="T24" fmla="*/ 1 w 4303"/>
                  <a:gd name="T25" fmla="*/ 1 h 432"/>
                  <a:gd name="T26" fmla="*/ 1 w 4303"/>
                  <a:gd name="T27" fmla="*/ 1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3"/>
                  <a:gd name="T43" fmla="*/ 0 h 432"/>
                  <a:gd name="T44" fmla="*/ 4303 w 4303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3" h="432">
                    <a:moveTo>
                      <a:pt x="4293" y="416"/>
                    </a:moveTo>
                    <a:cubicBezTo>
                      <a:pt x="4293" y="398"/>
                      <a:pt x="4303" y="338"/>
                      <a:pt x="4292" y="310"/>
                    </a:cubicBezTo>
                    <a:cubicBezTo>
                      <a:pt x="4281" y="282"/>
                      <a:pt x="4268" y="265"/>
                      <a:pt x="4229" y="249"/>
                    </a:cubicBezTo>
                    <a:cubicBezTo>
                      <a:pt x="4190" y="233"/>
                      <a:pt x="4211" y="241"/>
                      <a:pt x="4055" y="215"/>
                    </a:cubicBezTo>
                    <a:cubicBezTo>
                      <a:pt x="3899" y="189"/>
                      <a:pt x="3516" y="123"/>
                      <a:pt x="3291" y="90"/>
                    </a:cubicBezTo>
                    <a:cubicBezTo>
                      <a:pt x="3066" y="57"/>
                      <a:pt x="2919" y="32"/>
                      <a:pt x="2703" y="18"/>
                    </a:cubicBezTo>
                    <a:cubicBezTo>
                      <a:pt x="2487" y="4"/>
                      <a:pt x="2366" y="6"/>
                      <a:pt x="1993" y="3"/>
                    </a:cubicBezTo>
                    <a:cubicBezTo>
                      <a:pt x="1620" y="0"/>
                      <a:pt x="756" y="2"/>
                      <a:pt x="465" y="2"/>
                    </a:cubicBezTo>
                    <a:lnTo>
                      <a:pt x="245" y="0"/>
                    </a:lnTo>
                    <a:cubicBezTo>
                      <a:pt x="197" y="7"/>
                      <a:pt x="213" y="2"/>
                      <a:pt x="174" y="44"/>
                    </a:cubicBezTo>
                    <a:cubicBezTo>
                      <a:pt x="135" y="86"/>
                      <a:pt x="38" y="213"/>
                      <a:pt x="9" y="252"/>
                    </a:cubicBezTo>
                    <a:lnTo>
                      <a:pt x="0" y="281"/>
                    </a:lnTo>
                    <a:cubicBezTo>
                      <a:pt x="1" y="297"/>
                      <a:pt x="4" y="325"/>
                      <a:pt x="12" y="350"/>
                    </a:cubicBezTo>
                    <a:cubicBezTo>
                      <a:pt x="20" y="375"/>
                      <a:pt x="41" y="415"/>
                      <a:pt x="48" y="43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6" name="Freeform 46"/>
              <p:cNvSpPr>
                <a:spLocks noChangeAspect="1"/>
              </p:cNvSpPr>
              <p:nvPr/>
            </p:nvSpPr>
            <p:spPr bwMode="auto">
              <a:xfrm>
                <a:off x="3878" y="2898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7" name="Freeform 47"/>
              <p:cNvSpPr>
                <a:spLocks noChangeAspect="1"/>
              </p:cNvSpPr>
              <p:nvPr/>
            </p:nvSpPr>
            <p:spPr bwMode="auto">
              <a:xfrm>
                <a:off x="2812" y="2812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8" name="Freeform 48"/>
              <p:cNvSpPr>
                <a:spLocks noChangeAspect="1"/>
              </p:cNvSpPr>
              <p:nvPr/>
            </p:nvSpPr>
            <p:spPr bwMode="auto">
              <a:xfrm>
                <a:off x="2669" y="2778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9" name="Freeform 49"/>
              <p:cNvSpPr>
                <a:spLocks noChangeAspect="1"/>
              </p:cNvSpPr>
              <p:nvPr/>
            </p:nvSpPr>
            <p:spPr bwMode="auto">
              <a:xfrm>
                <a:off x="717" y="2965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0" name="Freeform 50"/>
              <p:cNvSpPr>
                <a:spLocks noChangeAspect="1"/>
              </p:cNvSpPr>
              <p:nvPr/>
            </p:nvSpPr>
            <p:spPr bwMode="auto">
              <a:xfrm>
                <a:off x="1812" y="281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1" name="Freeform 51"/>
              <p:cNvSpPr>
                <a:spLocks noChangeAspect="1"/>
              </p:cNvSpPr>
              <p:nvPr/>
            </p:nvSpPr>
            <p:spPr bwMode="auto">
              <a:xfrm>
                <a:off x="519" y="2823"/>
                <a:ext cx="1585" cy="145"/>
              </a:xfrm>
              <a:custGeom>
                <a:avLst/>
                <a:gdLst>
                  <a:gd name="T0" fmla="*/ 1 w 2662"/>
                  <a:gd name="T1" fmla="*/ 1 h 244"/>
                  <a:gd name="T2" fmla="*/ 1 w 2662"/>
                  <a:gd name="T3" fmla="*/ 1 h 244"/>
                  <a:gd name="T4" fmla="*/ 1 w 2662"/>
                  <a:gd name="T5" fmla="*/ 1 h 244"/>
                  <a:gd name="T6" fmla="*/ 1 w 2662"/>
                  <a:gd name="T7" fmla="*/ 1 h 244"/>
                  <a:gd name="T8" fmla="*/ 1 w 2662"/>
                  <a:gd name="T9" fmla="*/ 1 h 244"/>
                  <a:gd name="T10" fmla="*/ 0 w 2662"/>
                  <a:gd name="T11" fmla="*/ 0 h 2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62"/>
                  <a:gd name="T19" fmla="*/ 0 h 244"/>
                  <a:gd name="T20" fmla="*/ 2662 w 2662"/>
                  <a:gd name="T21" fmla="*/ 244 h 2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62" h="244">
                    <a:moveTo>
                      <a:pt x="2662" y="244"/>
                    </a:moveTo>
                    <a:cubicBezTo>
                      <a:pt x="2559" y="241"/>
                      <a:pt x="2314" y="231"/>
                      <a:pt x="2042" y="228"/>
                    </a:cubicBezTo>
                    <a:cubicBezTo>
                      <a:pt x="1770" y="225"/>
                      <a:pt x="1303" y="239"/>
                      <a:pt x="1028" y="224"/>
                    </a:cubicBezTo>
                    <a:cubicBezTo>
                      <a:pt x="753" y="209"/>
                      <a:pt x="541" y="162"/>
                      <a:pt x="392" y="136"/>
                    </a:cubicBezTo>
                    <a:cubicBezTo>
                      <a:pt x="243" y="110"/>
                      <a:pt x="197" y="93"/>
                      <a:pt x="132" y="70"/>
                    </a:cubicBezTo>
                    <a:cubicBezTo>
                      <a:pt x="67" y="47"/>
                      <a:pt x="27" y="15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2" name="Freeform 52"/>
              <p:cNvSpPr>
                <a:spLocks noChangeAspect="1"/>
              </p:cNvSpPr>
              <p:nvPr/>
            </p:nvSpPr>
            <p:spPr bwMode="auto">
              <a:xfrm>
                <a:off x="1635" y="2811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3" name="Freeform 53"/>
              <p:cNvSpPr>
                <a:spLocks noChangeAspect="1"/>
              </p:cNvSpPr>
              <p:nvPr/>
            </p:nvSpPr>
            <p:spPr bwMode="auto">
              <a:xfrm>
                <a:off x="793" y="2794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4" name="Freeform 54"/>
              <p:cNvSpPr>
                <a:spLocks noChangeAspect="1"/>
              </p:cNvSpPr>
              <p:nvPr/>
            </p:nvSpPr>
            <p:spPr bwMode="auto">
              <a:xfrm>
                <a:off x="281" y="2619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5" name="Freeform 55"/>
              <p:cNvSpPr>
                <a:spLocks noChangeAspect="1"/>
              </p:cNvSpPr>
              <p:nvPr/>
            </p:nvSpPr>
            <p:spPr bwMode="auto">
              <a:xfrm>
                <a:off x="415" y="2890"/>
                <a:ext cx="88" cy="31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6" name="Freeform 56"/>
              <p:cNvSpPr>
                <a:spLocks noChangeAspect="1"/>
              </p:cNvSpPr>
              <p:nvPr/>
            </p:nvSpPr>
            <p:spPr bwMode="auto">
              <a:xfrm>
                <a:off x="222" y="2513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7" name="Freeform 57"/>
              <p:cNvSpPr>
                <a:spLocks noChangeAspect="1"/>
              </p:cNvSpPr>
              <p:nvPr/>
            </p:nvSpPr>
            <p:spPr bwMode="auto">
              <a:xfrm>
                <a:off x="200" y="2361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8" name="Freeform 58"/>
              <p:cNvSpPr>
                <a:spLocks noChangeAspect="1"/>
              </p:cNvSpPr>
              <p:nvPr/>
            </p:nvSpPr>
            <p:spPr bwMode="auto">
              <a:xfrm flipV="1">
                <a:off x="756" y="94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49" name="Freeform 59"/>
              <p:cNvSpPr>
                <a:spLocks noChangeAspect="1"/>
              </p:cNvSpPr>
              <p:nvPr/>
            </p:nvSpPr>
            <p:spPr bwMode="auto">
              <a:xfrm flipV="1">
                <a:off x="4411" y="1015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0" name="Freeform 60"/>
              <p:cNvSpPr>
                <a:spLocks noChangeAspect="1"/>
              </p:cNvSpPr>
              <p:nvPr/>
            </p:nvSpPr>
            <p:spPr bwMode="auto">
              <a:xfrm flipV="1">
                <a:off x="4229" y="937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1" name="Freeform 61"/>
              <p:cNvSpPr>
                <a:spLocks noChangeAspect="1"/>
              </p:cNvSpPr>
              <p:nvPr/>
            </p:nvSpPr>
            <p:spPr bwMode="auto">
              <a:xfrm flipV="1">
                <a:off x="5001" y="884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2" name="Freeform 62"/>
              <p:cNvSpPr>
                <a:spLocks noChangeAspect="1"/>
              </p:cNvSpPr>
              <p:nvPr/>
            </p:nvSpPr>
            <p:spPr bwMode="auto">
              <a:xfrm>
                <a:off x="4973" y="845"/>
                <a:ext cx="616" cy="651"/>
              </a:xfrm>
              <a:custGeom>
                <a:avLst/>
                <a:gdLst>
                  <a:gd name="T0" fmla="*/ 581776 w 529"/>
                  <a:gd name="T1" fmla="*/ 669570 h 558"/>
                  <a:gd name="T2" fmla="*/ 523085 w 529"/>
                  <a:gd name="T3" fmla="*/ 455208 h 558"/>
                  <a:gd name="T4" fmla="*/ 423919 w 529"/>
                  <a:gd name="T5" fmla="*/ 252685 h 558"/>
                  <a:gd name="T6" fmla="*/ 325279 w 529"/>
                  <a:gd name="T7" fmla="*/ 137059 h 558"/>
                  <a:gd name="T8" fmla="*/ 177637 w 529"/>
                  <a:gd name="T9" fmla="*/ 50786 h 558"/>
                  <a:gd name="T10" fmla="*/ 0 w 529"/>
                  <a:gd name="T11" fmla="*/ 0 h 5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558"/>
                  <a:gd name="T20" fmla="*/ 529 w 529"/>
                  <a:gd name="T21" fmla="*/ 558 h 5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558">
                    <a:moveTo>
                      <a:pt x="529" y="558"/>
                    </a:moveTo>
                    <a:cubicBezTo>
                      <a:pt x="520" y="528"/>
                      <a:pt x="499" y="437"/>
                      <a:pt x="475" y="379"/>
                    </a:cubicBezTo>
                    <a:cubicBezTo>
                      <a:pt x="451" y="321"/>
                      <a:pt x="415" y="254"/>
                      <a:pt x="385" y="210"/>
                    </a:cubicBezTo>
                    <a:cubicBezTo>
                      <a:pt x="355" y="167"/>
                      <a:pt x="332" y="143"/>
                      <a:pt x="295" y="115"/>
                    </a:cubicBezTo>
                    <a:cubicBezTo>
                      <a:pt x="257" y="88"/>
                      <a:pt x="210" y="63"/>
                      <a:pt x="161" y="43"/>
                    </a:cubicBezTo>
                    <a:cubicBezTo>
                      <a:pt x="112" y="24"/>
                      <a:pt x="34" y="9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53" name="Freeform 63"/>
              <p:cNvSpPr>
                <a:spLocks noChangeAspect="1"/>
              </p:cNvSpPr>
              <p:nvPr/>
            </p:nvSpPr>
            <p:spPr bwMode="auto">
              <a:xfrm flipV="1">
                <a:off x="5028" y="88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4" name="Freeform 64"/>
              <p:cNvSpPr>
                <a:spLocks noChangeAspect="1"/>
              </p:cNvSpPr>
              <p:nvPr/>
            </p:nvSpPr>
            <p:spPr bwMode="auto">
              <a:xfrm flipV="1">
                <a:off x="3863" y="866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5" name="Freeform 65"/>
              <p:cNvSpPr>
                <a:spLocks noChangeAspect="1"/>
              </p:cNvSpPr>
              <p:nvPr/>
            </p:nvSpPr>
            <p:spPr bwMode="auto">
              <a:xfrm>
                <a:off x="1505" y="834"/>
                <a:ext cx="2559" cy="257"/>
              </a:xfrm>
              <a:custGeom>
                <a:avLst/>
                <a:gdLst>
                  <a:gd name="T0" fmla="*/ 1 w 4302"/>
                  <a:gd name="T1" fmla="*/ 1 h 432"/>
                  <a:gd name="T2" fmla="*/ 1 w 4302"/>
                  <a:gd name="T3" fmla="*/ 1 h 432"/>
                  <a:gd name="T4" fmla="*/ 1 w 4302"/>
                  <a:gd name="T5" fmla="*/ 1 h 432"/>
                  <a:gd name="T6" fmla="*/ 1 w 4302"/>
                  <a:gd name="T7" fmla="*/ 1 h 432"/>
                  <a:gd name="T8" fmla="*/ 1 w 4302"/>
                  <a:gd name="T9" fmla="*/ 1 h 432"/>
                  <a:gd name="T10" fmla="*/ 1 w 4302"/>
                  <a:gd name="T11" fmla="*/ 1 h 432"/>
                  <a:gd name="T12" fmla="*/ 1 w 4302"/>
                  <a:gd name="T13" fmla="*/ 1 h 432"/>
                  <a:gd name="T14" fmla="*/ 1 w 4302"/>
                  <a:gd name="T15" fmla="*/ 1 h 432"/>
                  <a:gd name="T16" fmla="*/ 1 w 4302"/>
                  <a:gd name="T17" fmla="*/ 1 h 432"/>
                  <a:gd name="T18" fmla="*/ 1 w 4302"/>
                  <a:gd name="T19" fmla="*/ 1 h 432"/>
                  <a:gd name="T20" fmla="*/ 1 w 4302"/>
                  <a:gd name="T21" fmla="*/ 1 h 432"/>
                  <a:gd name="T22" fmla="*/ 0 w 4302"/>
                  <a:gd name="T23" fmla="*/ 1 h 432"/>
                  <a:gd name="T24" fmla="*/ 1 w 4302"/>
                  <a:gd name="T25" fmla="*/ 1 h 432"/>
                  <a:gd name="T26" fmla="*/ 1 w 4302"/>
                  <a:gd name="T27" fmla="*/ 0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2"/>
                  <a:gd name="T43" fmla="*/ 0 h 432"/>
                  <a:gd name="T44" fmla="*/ 4302 w 4302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2" h="432">
                    <a:moveTo>
                      <a:pt x="4289" y="15"/>
                    </a:moveTo>
                    <a:cubicBezTo>
                      <a:pt x="4289" y="33"/>
                      <a:pt x="4302" y="94"/>
                      <a:pt x="4292" y="122"/>
                    </a:cubicBezTo>
                    <a:cubicBezTo>
                      <a:pt x="4282" y="150"/>
                      <a:pt x="4268" y="167"/>
                      <a:pt x="4229" y="183"/>
                    </a:cubicBezTo>
                    <a:cubicBezTo>
                      <a:pt x="4190" y="199"/>
                      <a:pt x="4211" y="191"/>
                      <a:pt x="4055" y="217"/>
                    </a:cubicBezTo>
                    <a:cubicBezTo>
                      <a:pt x="3899" y="243"/>
                      <a:pt x="3516" y="309"/>
                      <a:pt x="3291" y="342"/>
                    </a:cubicBezTo>
                    <a:cubicBezTo>
                      <a:pt x="3066" y="375"/>
                      <a:pt x="2919" y="400"/>
                      <a:pt x="2703" y="414"/>
                    </a:cubicBezTo>
                    <a:cubicBezTo>
                      <a:pt x="2487" y="428"/>
                      <a:pt x="2366" y="426"/>
                      <a:pt x="1993" y="429"/>
                    </a:cubicBezTo>
                    <a:cubicBezTo>
                      <a:pt x="1620" y="432"/>
                      <a:pt x="756" y="430"/>
                      <a:pt x="465" y="430"/>
                    </a:cubicBezTo>
                    <a:lnTo>
                      <a:pt x="245" y="432"/>
                    </a:lnTo>
                    <a:cubicBezTo>
                      <a:pt x="197" y="425"/>
                      <a:pt x="213" y="430"/>
                      <a:pt x="174" y="388"/>
                    </a:cubicBezTo>
                    <a:cubicBezTo>
                      <a:pt x="135" y="346"/>
                      <a:pt x="38" y="219"/>
                      <a:pt x="9" y="180"/>
                    </a:cubicBezTo>
                    <a:lnTo>
                      <a:pt x="0" y="151"/>
                    </a:lnTo>
                    <a:cubicBezTo>
                      <a:pt x="1" y="135"/>
                      <a:pt x="4" y="107"/>
                      <a:pt x="12" y="82"/>
                    </a:cubicBezTo>
                    <a:cubicBezTo>
                      <a:pt x="20" y="57"/>
                      <a:pt x="41" y="17"/>
                      <a:pt x="48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56" name="Freeform 66"/>
              <p:cNvSpPr>
                <a:spLocks noChangeAspect="1"/>
              </p:cNvSpPr>
              <p:nvPr/>
            </p:nvSpPr>
            <p:spPr bwMode="auto">
              <a:xfrm flipV="1">
                <a:off x="3878" y="910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7" name="Freeform 67"/>
              <p:cNvSpPr>
                <a:spLocks noChangeAspect="1"/>
              </p:cNvSpPr>
              <p:nvPr/>
            </p:nvSpPr>
            <p:spPr bwMode="auto">
              <a:xfrm flipV="1">
                <a:off x="2812" y="929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8" name="Freeform 68"/>
              <p:cNvSpPr>
                <a:spLocks noChangeAspect="1"/>
              </p:cNvSpPr>
              <p:nvPr/>
            </p:nvSpPr>
            <p:spPr bwMode="auto">
              <a:xfrm flipV="1">
                <a:off x="2669" y="843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9" name="Freeform 69"/>
              <p:cNvSpPr>
                <a:spLocks noChangeAspect="1"/>
              </p:cNvSpPr>
              <p:nvPr/>
            </p:nvSpPr>
            <p:spPr bwMode="auto">
              <a:xfrm flipV="1">
                <a:off x="717" y="860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0" name="Freeform 70"/>
              <p:cNvSpPr>
                <a:spLocks noChangeAspect="1"/>
              </p:cNvSpPr>
              <p:nvPr/>
            </p:nvSpPr>
            <p:spPr bwMode="auto">
              <a:xfrm flipV="1">
                <a:off x="1812" y="93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1" name="Freeform 71"/>
              <p:cNvSpPr>
                <a:spLocks noChangeAspect="1"/>
              </p:cNvSpPr>
              <p:nvPr/>
            </p:nvSpPr>
            <p:spPr bwMode="auto">
              <a:xfrm>
                <a:off x="511" y="914"/>
                <a:ext cx="1593" cy="153"/>
              </a:xfrm>
              <a:custGeom>
                <a:avLst/>
                <a:gdLst>
                  <a:gd name="T0" fmla="*/ 1 w 2676"/>
                  <a:gd name="T1" fmla="*/ 0 h 257"/>
                  <a:gd name="T2" fmla="*/ 1 w 2676"/>
                  <a:gd name="T3" fmla="*/ 1 h 257"/>
                  <a:gd name="T4" fmla="*/ 1 w 2676"/>
                  <a:gd name="T5" fmla="*/ 1 h 257"/>
                  <a:gd name="T6" fmla="*/ 1 w 2676"/>
                  <a:gd name="T7" fmla="*/ 1 h 257"/>
                  <a:gd name="T8" fmla="*/ 1 w 2676"/>
                  <a:gd name="T9" fmla="*/ 1 h 257"/>
                  <a:gd name="T10" fmla="*/ 0 w 2676"/>
                  <a:gd name="T11" fmla="*/ 1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76"/>
                  <a:gd name="T19" fmla="*/ 0 h 257"/>
                  <a:gd name="T20" fmla="*/ 2676 w 2676"/>
                  <a:gd name="T21" fmla="*/ 257 h 2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76" h="257">
                    <a:moveTo>
                      <a:pt x="2676" y="0"/>
                    </a:moveTo>
                    <a:cubicBezTo>
                      <a:pt x="2573" y="3"/>
                      <a:pt x="2328" y="13"/>
                      <a:pt x="2056" y="16"/>
                    </a:cubicBezTo>
                    <a:cubicBezTo>
                      <a:pt x="1784" y="19"/>
                      <a:pt x="1317" y="5"/>
                      <a:pt x="1042" y="20"/>
                    </a:cubicBezTo>
                    <a:cubicBezTo>
                      <a:pt x="767" y="35"/>
                      <a:pt x="555" y="82"/>
                      <a:pt x="406" y="108"/>
                    </a:cubicBezTo>
                    <a:cubicBezTo>
                      <a:pt x="257" y="134"/>
                      <a:pt x="214" y="149"/>
                      <a:pt x="146" y="174"/>
                    </a:cubicBezTo>
                    <a:cubicBezTo>
                      <a:pt x="78" y="199"/>
                      <a:pt x="30" y="240"/>
                      <a:pt x="0" y="25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62" name="Freeform 72"/>
              <p:cNvSpPr>
                <a:spLocks noChangeAspect="1"/>
              </p:cNvSpPr>
              <p:nvPr/>
            </p:nvSpPr>
            <p:spPr bwMode="auto">
              <a:xfrm flipV="1">
                <a:off x="1635" y="942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3" name="Freeform 73"/>
              <p:cNvSpPr>
                <a:spLocks noChangeAspect="1"/>
              </p:cNvSpPr>
              <p:nvPr/>
            </p:nvSpPr>
            <p:spPr bwMode="auto">
              <a:xfrm flipV="1">
                <a:off x="793" y="941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4" name="Freeform 74"/>
              <p:cNvSpPr>
                <a:spLocks noChangeAspect="1"/>
              </p:cNvSpPr>
              <p:nvPr/>
            </p:nvSpPr>
            <p:spPr bwMode="auto">
              <a:xfrm flipV="1">
                <a:off x="283" y="852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5" name="Freeform 75"/>
              <p:cNvSpPr>
                <a:spLocks noChangeAspect="1"/>
              </p:cNvSpPr>
              <p:nvPr/>
            </p:nvSpPr>
            <p:spPr bwMode="auto">
              <a:xfrm flipV="1">
                <a:off x="415" y="957"/>
                <a:ext cx="88" cy="30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6" name="Freeform 76"/>
              <p:cNvSpPr>
                <a:spLocks noChangeAspect="1"/>
              </p:cNvSpPr>
              <p:nvPr/>
            </p:nvSpPr>
            <p:spPr bwMode="auto">
              <a:xfrm flipV="1">
                <a:off x="222" y="1279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7" name="Freeform 77"/>
              <p:cNvSpPr>
                <a:spLocks noChangeAspect="1"/>
              </p:cNvSpPr>
              <p:nvPr/>
            </p:nvSpPr>
            <p:spPr bwMode="auto">
              <a:xfrm flipV="1">
                <a:off x="200" y="1328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8" name="Freeform 78"/>
              <p:cNvSpPr>
                <a:spLocks noChangeAspect="1"/>
              </p:cNvSpPr>
              <p:nvPr/>
            </p:nvSpPr>
            <p:spPr bwMode="auto">
              <a:xfrm>
                <a:off x="3607" y="3015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69" name="Freeform 79"/>
              <p:cNvSpPr>
                <a:spLocks noChangeAspect="1"/>
              </p:cNvSpPr>
              <p:nvPr/>
            </p:nvSpPr>
            <p:spPr bwMode="auto">
              <a:xfrm>
                <a:off x="3681" y="2955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0" name="Freeform 80"/>
              <p:cNvSpPr>
                <a:spLocks noChangeAspect="1"/>
              </p:cNvSpPr>
              <p:nvPr/>
            </p:nvSpPr>
            <p:spPr bwMode="auto">
              <a:xfrm>
                <a:off x="3621" y="2965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1" name="Freeform 81"/>
              <p:cNvSpPr>
                <a:spLocks noChangeAspect="1"/>
              </p:cNvSpPr>
              <p:nvPr/>
            </p:nvSpPr>
            <p:spPr bwMode="auto">
              <a:xfrm>
                <a:off x="3754" y="2990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2" name="Freeform 82"/>
              <p:cNvSpPr>
                <a:spLocks noChangeAspect="1"/>
              </p:cNvSpPr>
              <p:nvPr/>
            </p:nvSpPr>
            <p:spPr bwMode="auto">
              <a:xfrm>
                <a:off x="3699" y="2899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3" name="Freeform 83"/>
              <p:cNvSpPr>
                <a:spLocks noChangeAspect="1"/>
              </p:cNvSpPr>
              <p:nvPr/>
            </p:nvSpPr>
            <p:spPr bwMode="auto">
              <a:xfrm flipV="1">
                <a:off x="3607" y="619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4" name="Freeform 84"/>
              <p:cNvSpPr>
                <a:spLocks noChangeAspect="1"/>
              </p:cNvSpPr>
              <p:nvPr/>
            </p:nvSpPr>
            <p:spPr bwMode="auto">
              <a:xfrm flipV="1">
                <a:off x="3681" y="627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5" name="Freeform 85"/>
              <p:cNvSpPr>
                <a:spLocks noChangeAspect="1"/>
              </p:cNvSpPr>
              <p:nvPr/>
            </p:nvSpPr>
            <p:spPr bwMode="auto">
              <a:xfrm flipV="1">
                <a:off x="3621" y="632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6" name="Freeform 86"/>
              <p:cNvSpPr>
                <a:spLocks noChangeAspect="1"/>
              </p:cNvSpPr>
              <p:nvPr/>
            </p:nvSpPr>
            <p:spPr bwMode="auto">
              <a:xfrm flipV="1">
                <a:off x="3754" y="884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7" name="Freeform 87"/>
              <p:cNvSpPr>
                <a:spLocks noChangeAspect="1"/>
              </p:cNvSpPr>
              <p:nvPr/>
            </p:nvSpPr>
            <p:spPr bwMode="auto">
              <a:xfrm flipV="1">
                <a:off x="3699" y="914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8" name="Freeform 88"/>
              <p:cNvSpPr>
                <a:spLocks noChangeAspect="1"/>
              </p:cNvSpPr>
              <p:nvPr/>
            </p:nvSpPr>
            <p:spPr bwMode="auto">
              <a:xfrm>
                <a:off x="2897" y="2648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9" name="Freeform 89"/>
              <p:cNvSpPr>
                <a:spLocks noChangeAspect="1"/>
              </p:cNvSpPr>
              <p:nvPr/>
            </p:nvSpPr>
            <p:spPr bwMode="auto">
              <a:xfrm>
                <a:off x="2903" y="2564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0" name="Freeform 90"/>
              <p:cNvSpPr>
                <a:spLocks noChangeAspect="1"/>
              </p:cNvSpPr>
              <p:nvPr/>
            </p:nvSpPr>
            <p:spPr bwMode="auto">
              <a:xfrm>
                <a:off x="2862" y="2551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1" name="Freeform 91"/>
              <p:cNvSpPr>
                <a:spLocks noChangeAspect="1"/>
              </p:cNvSpPr>
              <p:nvPr/>
            </p:nvSpPr>
            <p:spPr bwMode="auto">
              <a:xfrm>
                <a:off x="2869" y="2548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2" name="Freeform 92"/>
              <p:cNvSpPr>
                <a:spLocks noChangeAspect="1"/>
              </p:cNvSpPr>
              <p:nvPr/>
            </p:nvSpPr>
            <p:spPr bwMode="auto">
              <a:xfrm>
                <a:off x="2867" y="2679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3" name="Freeform 93"/>
              <p:cNvSpPr>
                <a:spLocks noChangeAspect="1"/>
              </p:cNvSpPr>
              <p:nvPr/>
            </p:nvSpPr>
            <p:spPr bwMode="auto">
              <a:xfrm>
                <a:off x="760" y="2645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4" name="Freeform 94"/>
              <p:cNvSpPr>
                <a:spLocks noChangeAspect="1"/>
              </p:cNvSpPr>
              <p:nvPr/>
            </p:nvSpPr>
            <p:spPr bwMode="auto">
              <a:xfrm>
                <a:off x="759" y="2556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5" name="Freeform 95"/>
              <p:cNvSpPr>
                <a:spLocks noChangeAspect="1"/>
              </p:cNvSpPr>
              <p:nvPr/>
            </p:nvSpPr>
            <p:spPr bwMode="auto">
              <a:xfrm>
                <a:off x="760" y="2567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6" name="Freeform 96"/>
              <p:cNvSpPr>
                <a:spLocks noChangeAspect="1"/>
              </p:cNvSpPr>
              <p:nvPr/>
            </p:nvSpPr>
            <p:spPr bwMode="auto">
              <a:xfrm>
                <a:off x="760" y="2624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7" name="Freeform 97"/>
              <p:cNvSpPr>
                <a:spLocks noChangeAspect="1"/>
              </p:cNvSpPr>
              <p:nvPr/>
            </p:nvSpPr>
            <p:spPr bwMode="auto">
              <a:xfrm>
                <a:off x="996" y="2557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8" name="Line 98"/>
              <p:cNvSpPr>
                <a:spLocks noChangeAspect="1" noChangeShapeType="1"/>
              </p:cNvSpPr>
              <p:nvPr/>
            </p:nvSpPr>
            <p:spPr bwMode="auto">
              <a:xfrm>
                <a:off x="1000" y="2586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9" name="Line 99"/>
              <p:cNvSpPr>
                <a:spLocks noChangeAspect="1" noChangeShapeType="1"/>
              </p:cNvSpPr>
              <p:nvPr/>
            </p:nvSpPr>
            <p:spPr bwMode="auto">
              <a:xfrm>
                <a:off x="999" y="2618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90" name="Line 100"/>
              <p:cNvSpPr>
                <a:spLocks noChangeAspect="1" noChangeShapeType="1"/>
              </p:cNvSpPr>
              <p:nvPr/>
            </p:nvSpPr>
            <p:spPr bwMode="auto">
              <a:xfrm>
                <a:off x="1011" y="2633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91" name="Line 101"/>
              <p:cNvSpPr>
                <a:spLocks noChangeAspect="1" noChangeShapeType="1"/>
              </p:cNvSpPr>
              <p:nvPr/>
            </p:nvSpPr>
            <p:spPr bwMode="auto">
              <a:xfrm>
                <a:off x="1019" y="2572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92" name="Freeform 102"/>
              <p:cNvSpPr>
                <a:spLocks noChangeAspect="1"/>
              </p:cNvSpPr>
              <p:nvPr/>
            </p:nvSpPr>
            <p:spPr bwMode="auto">
              <a:xfrm flipV="1">
                <a:off x="2897" y="1196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3" name="Freeform 103"/>
              <p:cNvSpPr>
                <a:spLocks noChangeAspect="1"/>
              </p:cNvSpPr>
              <p:nvPr/>
            </p:nvSpPr>
            <p:spPr bwMode="auto">
              <a:xfrm flipV="1">
                <a:off x="2903" y="1289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4" name="Freeform 104"/>
              <p:cNvSpPr>
                <a:spLocks noChangeAspect="1"/>
              </p:cNvSpPr>
              <p:nvPr/>
            </p:nvSpPr>
            <p:spPr bwMode="auto">
              <a:xfrm flipV="1">
                <a:off x="2862" y="1206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5" name="Freeform 105"/>
              <p:cNvSpPr>
                <a:spLocks noChangeAspect="1"/>
              </p:cNvSpPr>
              <p:nvPr/>
            </p:nvSpPr>
            <p:spPr bwMode="auto">
              <a:xfrm flipV="1">
                <a:off x="2869" y="1320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6" name="Freeform 106"/>
              <p:cNvSpPr>
                <a:spLocks noChangeAspect="1"/>
              </p:cNvSpPr>
              <p:nvPr/>
            </p:nvSpPr>
            <p:spPr bwMode="auto">
              <a:xfrm flipV="1">
                <a:off x="2867" y="1197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7" name="Freeform 107"/>
              <p:cNvSpPr>
                <a:spLocks noChangeAspect="1"/>
              </p:cNvSpPr>
              <p:nvPr/>
            </p:nvSpPr>
            <p:spPr bwMode="auto">
              <a:xfrm flipV="1">
                <a:off x="760" y="1230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8" name="Freeform 108"/>
              <p:cNvSpPr>
                <a:spLocks noChangeAspect="1"/>
              </p:cNvSpPr>
              <p:nvPr/>
            </p:nvSpPr>
            <p:spPr bwMode="auto">
              <a:xfrm flipV="1">
                <a:off x="759" y="1317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9" name="Freeform 109"/>
              <p:cNvSpPr>
                <a:spLocks noChangeAspect="1"/>
              </p:cNvSpPr>
              <p:nvPr/>
            </p:nvSpPr>
            <p:spPr bwMode="auto">
              <a:xfrm flipV="1">
                <a:off x="760" y="1302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00" name="Freeform 110"/>
              <p:cNvSpPr>
                <a:spLocks noChangeAspect="1"/>
              </p:cNvSpPr>
              <p:nvPr/>
            </p:nvSpPr>
            <p:spPr bwMode="auto">
              <a:xfrm flipV="1">
                <a:off x="760" y="1240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01" name="Freeform 111"/>
              <p:cNvSpPr>
                <a:spLocks noChangeAspect="1"/>
              </p:cNvSpPr>
              <p:nvPr/>
            </p:nvSpPr>
            <p:spPr bwMode="auto">
              <a:xfrm flipV="1">
                <a:off x="996" y="1230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02" name="Line 112"/>
              <p:cNvSpPr>
                <a:spLocks noChangeAspect="1" noChangeShapeType="1"/>
              </p:cNvSpPr>
              <p:nvPr/>
            </p:nvSpPr>
            <p:spPr bwMode="auto">
              <a:xfrm flipV="1">
                <a:off x="1000" y="1291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3" name="Line 113"/>
              <p:cNvSpPr>
                <a:spLocks noChangeAspect="1" noChangeShapeType="1"/>
              </p:cNvSpPr>
              <p:nvPr/>
            </p:nvSpPr>
            <p:spPr bwMode="auto">
              <a:xfrm flipV="1">
                <a:off x="999" y="1259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4" name="Line 114"/>
              <p:cNvSpPr>
                <a:spLocks noChangeAspect="1" noChangeShapeType="1"/>
              </p:cNvSpPr>
              <p:nvPr/>
            </p:nvSpPr>
            <p:spPr bwMode="auto">
              <a:xfrm flipV="1">
                <a:off x="1011" y="1244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5" name="Line 115"/>
              <p:cNvSpPr>
                <a:spLocks noChangeAspect="1" noChangeShapeType="1"/>
              </p:cNvSpPr>
              <p:nvPr/>
            </p:nvSpPr>
            <p:spPr bwMode="auto">
              <a:xfrm flipV="1">
                <a:off x="1019" y="1305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6" name="Freeform 116"/>
              <p:cNvSpPr>
                <a:spLocks noChangeAspect="1"/>
              </p:cNvSpPr>
              <p:nvPr/>
            </p:nvSpPr>
            <p:spPr bwMode="auto">
              <a:xfrm>
                <a:off x="774" y="1937"/>
                <a:ext cx="205" cy="23"/>
              </a:xfrm>
              <a:custGeom>
                <a:avLst/>
                <a:gdLst>
                  <a:gd name="T0" fmla="*/ 1 w 329"/>
                  <a:gd name="T1" fmla="*/ 1 h 37"/>
                  <a:gd name="T2" fmla="*/ 1 w 329"/>
                  <a:gd name="T3" fmla="*/ 1 h 37"/>
                  <a:gd name="T4" fmla="*/ 1 w 329"/>
                  <a:gd name="T5" fmla="*/ 1 h 37"/>
                  <a:gd name="T6" fmla="*/ 1 w 329"/>
                  <a:gd name="T7" fmla="*/ 1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9"/>
                  <a:gd name="T13" fmla="*/ 0 h 37"/>
                  <a:gd name="T14" fmla="*/ 329 w 329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9" h="37">
                    <a:moveTo>
                      <a:pt x="329" y="35"/>
                    </a:moveTo>
                    <a:cubicBezTo>
                      <a:pt x="282" y="35"/>
                      <a:pt x="94" y="37"/>
                      <a:pt x="47" y="32"/>
                    </a:cubicBezTo>
                    <a:cubicBezTo>
                      <a:pt x="0" y="27"/>
                      <a:pt x="0" y="10"/>
                      <a:pt x="47" y="5"/>
                    </a:cubicBezTo>
                    <a:cubicBezTo>
                      <a:pt x="94" y="0"/>
                      <a:pt x="270" y="3"/>
                      <a:pt x="328" y="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7" name="Freeform 117"/>
              <p:cNvSpPr>
                <a:spLocks noChangeAspect="1"/>
              </p:cNvSpPr>
              <p:nvPr/>
            </p:nvSpPr>
            <p:spPr bwMode="auto">
              <a:xfrm>
                <a:off x="966" y="1904"/>
                <a:ext cx="98" cy="86"/>
              </a:xfrm>
              <a:custGeom>
                <a:avLst/>
                <a:gdLst>
                  <a:gd name="T0" fmla="*/ 0 w 157"/>
                  <a:gd name="T1" fmla="*/ 1 h 137"/>
                  <a:gd name="T2" fmla="*/ 1 w 157"/>
                  <a:gd name="T3" fmla="*/ 1 h 137"/>
                  <a:gd name="T4" fmla="*/ 1 w 157"/>
                  <a:gd name="T5" fmla="*/ 1 h 137"/>
                  <a:gd name="T6" fmla="*/ 1 w 157"/>
                  <a:gd name="T7" fmla="*/ 1 h 137"/>
                  <a:gd name="T8" fmla="*/ 1 w 157"/>
                  <a:gd name="T9" fmla="*/ 1 h 137"/>
                  <a:gd name="T10" fmla="*/ 1 w 157"/>
                  <a:gd name="T11" fmla="*/ 1 h 137"/>
                  <a:gd name="T12" fmla="*/ 1 w 157"/>
                  <a:gd name="T13" fmla="*/ 1 h 137"/>
                  <a:gd name="T14" fmla="*/ 1 w 157"/>
                  <a:gd name="T15" fmla="*/ 1 h 137"/>
                  <a:gd name="T16" fmla="*/ 1 w 157"/>
                  <a:gd name="T17" fmla="*/ 1 h 137"/>
                  <a:gd name="T18" fmla="*/ 0 w 157"/>
                  <a:gd name="T19" fmla="*/ 1 h 1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7"/>
                  <a:gd name="T31" fmla="*/ 0 h 137"/>
                  <a:gd name="T32" fmla="*/ 157 w 157"/>
                  <a:gd name="T33" fmla="*/ 137 h 1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7" h="137">
                    <a:moveTo>
                      <a:pt x="0" y="90"/>
                    </a:moveTo>
                    <a:cubicBezTo>
                      <a:pt x="2" y="93"/>
                      <a:pt x="5" y="102"/>
                      <a:pt x="11" y="107"/>
                    </a:cubicBezTo>
                    <a:cubicBezTo>
                      <a:pt x="17" y="112"/>
                      <a:pt x="31" y="114"/>
                      <a:pt x="39" y="119"/>
                    </a:cubicBezTo>
                    <a:cubicBezTo>
                      <a:pt x="47" y="124"/>
                      <a:pt x="41" y="137"/>
                      <a:pt x="57" y="135"/>
                    </a:cubicBezTo>
                    <a:cubicBezTo>
                      <a:pt x="73" y="133"/>
                      <a:pt x="124" y="121"/>
                      <a:pt x="138" y="105"/>
                    </a:cubicBezTo>
                    <a:cubicBezTo>
                      <a:pt x="152" y="89"/>
                      <a:pt x="157" y="58"/>
                      <a:pt x="143" y="41"/>
                    </a:cubicBezTo>
                    <a:cubicBezTo>
                      <a:pt x="129" y="24"/>
                      <a:pt x="74" y="6"/>
                      <a:pt x="56" y="3"/>
                    </a:cubicBezTo>
                    <a:cubicBezTo>
                      <a:pt x="38" y="0"/>
                      <a:pt x="42" y="17"/>
                      <a:pt x="35" y="23"/>
                    </a:cubicBezTo>
                    <a:cubicBezTo>
                      <a:pt x="28" y="29"/>
                      <a:pt x="17" y="33"/>
                      <a:pt x="11" y="38"/>
                    </a:cubicBezTo>
                    <a:cubicBezTo>
                      <a:pt x="5" y="43"/>
                      <a:pt x="2" y="51"/>
                      <a:pt x="0" y="5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8" name="Line 118"/>
              <p:cNvSpPr>
                <a:spLocks noChangeAspect="1" noChangeShapeType="1"/>
              </p:cNvSpPr>
              <p:nvPr/>
            </p:nvSpPr>
            <p:spPr bwMode="auto">
              <a:xfrm>
                <a:off x="981" y="1937"/>
                <a:ext cx="0" cy="21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9" name="Freeform 119"/>
              <p:cNvSpPr>
                <a:spLocks noChangeAspect="1"/>
              </p:cNvSpPr>
              <p:nvPr/>
            </p:nvSpPr>
            <p:spPr bwMode="auto">
              <a:xfrm>
                <a:off x="984" y="1915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0" name="Freeform 120"/>
              <p:cNvSpPr>
                <a:spLocks noChangeAspect="1"/>
              </p:cNvSpPr>
              <p:nvPr/>
            </p:nvSpPr>
            <p:spPr bwMode="auto">
              <a:xfrm flipV="1">
                <a:off x="984" y="1958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11" name="Freeform 121"/>
              <p:cNvSpPr>
                <a:spLocks noChangeAspect="1"/>
              </p:cNvSpPr>
              <p:nvPr/>
            </p:nvSpPr>
            <p:spPr bwMode="auto">
              <a:xfrm>
                <a:off x="94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2" name="Freeform 122"/>
              <p:cNvSpPr>
                <a:spLocks noChangeAspect="1"/>
              </p:cNvSpPr>
              <p:nvPr/>
            </p:nvSpPr>
            <p:spPr bwMode="auto">
              <a:xfrm>
                <a:off x="91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3" name="Freeform 123"/>
              <p:cNvSpPr>
                <a:spLocks noChangeAspect="1"/>
              </p:cNvSpPr>
              <p:nvPr/>
            </p:nvSpPr>
            <p:spPr bwMode="auto">
              <a:xfrm>
                <a:off x="887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4" name="Freeform 124"/>
              <p:cNvSpPr>
                <a:spLocks noChangeAspect="1"/>
              </p:cNvSpPr>
              <p:nvPr/>
            </p:nvSpPr>
            <p:spPr bwMode="auto">
              <a:xfrm>
                <a:off x="860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5" name="Freeform 125"/>
              <p:cNvSpPr>
                <a:spLocks noChangeAspect="1"/>
              </p:cNvSpPr>
              <p:nvPr/>
            </p:nvSpPr>
            <p:spPr bwMode="auto">
              <a:xfrm>
                <a:off x="828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6" name="Freeform 126"/>
              <p:cNvSpPr>
                <a:spLocks noChangeAspect="1"/>
              </p:cNvSpPr>
              <p:nvPr/>
            </p:nvSpPr>
            <p:spPr bwMode="auto">
              <a:xfrm>
                <a:off x="803" y="1940"/>
                <a:ext cx="17" cy="17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7" name="Freeform 127"/>
              <p:cNvSpPr>
                <a:spLocks noChangeAspect="1"/>
              </p:cNvSpPr>
              <p:nvPr/>
            </p:nvSpPr>
            <p:spPr bwMode="auto">
              <a:xfrm>
                <a:off x="666" y="1224"/>
                <a:ext cx="95" cy="1429"/>
              </a:xfrm>
              <a:custGeom>
                <a:avLst/>
                <a:gdLst>
                  <a:gd name="T0" fmla="*/ 1 w 160"/>
                  <a:gd name="T1" fmla="*/ 1 h 2429"/>
                  <a:gd name="T2" fmla="*/ 1 w 160"/>
                  <a:gd name="T3" fmla="*/ 1 h 2429"/>
                  <a:gd name="T4" fmla="*/ 1 w 160"/>
                  <a:gd name="T5" fmla="*/ 1 h 2429"/>
                  <a:gd name="T6" fmla="*/ 1 w 160"/>
                  <a:gd name="T7" fmla="*/ 1 h 2429"/>
                  <a:gd name="T8" fmla="*/ 1 w 160"/>
                  <a:gd name="T9" fmla="*/ 1 h 2429"/>
                  <a:gd name="T10" fmla="*/ 1 w 160"/>
                  <a:gd name="T11" fmla="*/ 1 h 2429"/>
                  <a:gd name="T12" fmla="*/ 1 w 160"/>
                  <a:gd name="T13" fmla="*/ 1 h 24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2429"/>
                  <a:gd name="T23" fmla="*/ 160 w 160"/>
                  <a:gd name="T24" fmla="*/ 2429 h 24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2429">
                    <a:moveTo>
                      <a:pt x="160" y="2423"/>
                    </a:moveTo>
                    <a:cubicBezTo>
                      <a:pt x="146" y="2413"/>
                      <a:pt x="100" y="2429"/>
                      <a:pt x="78" y="2365"/>
                    </a:cubicBezTo>
                    <a:cubicBezTo>
                      <a:pt x="56" y="2301"/>
                      <a:pt x="43" y="2229"/>
                      <a:pt x="30" y="2038"/>
                    </a:cubicBezTo>
                    <a:cubicBezTo>
                      <a:pt x="17" y="1847"/>
                      <a:pt x="4" y="1491"/>
                      <a:pt x="2" y="1217"/>
                    </a:cubicBezTo>
                    <a:cubicBezTo>
                      <a:pt x="0" y="943"/>
                      <a:pt x="8" y="584"/>
                      <a:pt x="21" y="392"/>
                    </a:cubicBezTo>
                    <a:cubicBezTo>
                      <a:pt x="34" y="200"/>
                      <a:pt x="55" y="130"/>
                      <a:pt x="78" y="65"/>
                    </a:cubicBezTo>
                    <a:cubicBezTo>
                      <a:pt x="101" y="0"/>
                      <a:pt x="143" y="17"/>
                      <a:pt x="160" y="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9" name="그룹 107"/>
            <p:cNvGrpSpPr>
              <a:grpSpLocks/>
            </p:cNvGrpSpPr>
            <p:nvPr/>
          </p:nvGrpSpPr>
          <p:grpSpPr bwMode="auto">
            <a:xfrm>
              <a:off x="2030116" y="4453396"/>
              <a:ext cx="279212" cy="242675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0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1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그룹 107"/>
            <p:cNvGrpSpPr>
              <a:grpSpLocks/>
            </p:cNvGrpSpPr>
            <p:nvPr/>
          </p:nvGrpSpPr>
          <p:grpSpPr bwMode="auto">
            <a:xfrm rot="10800000">
              <a:off x="3898893" y="4438462"/>
              <a:ext cx="279212" cy="246408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3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509" name="그룹 107"/>
            <p:cNvGrpSpPr>
              <a:grpSpLocks/>
            </p:cNvGrpSpPr>
            <p:nvPr/>
          </p:nvGrpSpPr>
          <p:grpSpPr bwMode="auto">
            <a:xfrm rot="5400000">
              <a:off x="3017029" y="3892239"/>
              <a:ext cx="362146" cy="185218"/>
              <a:chOff x="1665463" y="5157193"/>
              <a:chExt cx="407217" cy="288032"/>
            </a:xfrm>
          </p:grpSpPr>
          <p:sp>
            <p:nvSpPr>
              <p:cNvPr id="20516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20517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grpSp>
          <p:nvGrpSpPr>
            <p:cNvPr id="20510" name="그룹 107"/>
            <p:cNvGrpSpPr>
              <a:grpSpLocks/>
            </p:cNvGrpSpPr>
            <p:nvPr/>
          </p:nvGrpSpPr>
          <p:grpSpPr bwMode="auto">
            <a:xfrm rot="-5400000">
              <a:off x="3017029" y="5057075"/>
              <a:ext cx="362146" cy="185218"/>
              <a:chOff x="1665463" y="5157193"/>
              <a:chExt cx="407217" cy="288032"/>
            </a:xfrm>
          </p:grpSpPr>
          <p:sp>
            <p:nvSpPr>
              <p:cNvPr id="20514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20515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sp>
          <p:nvSpPr>
            <p:cNvPr id="20511" name="Oval 26"/>
            <p:cNvSpPr>
              <a:spLocks noChangeAspect="1" noChangeArrowheads="1"/>
            </p:cNvSpPr>
            <p:nvPr/>
          </p:nvSpPr>
          <p:spPr bwMode="auto">
            <a:xfrm rot="5400000">
              <a:off x="1143152" y="4146513"/>
              <a:ext cx="1743519" cy="826574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ot="10800000" vert="eaVert"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20512" name="Oval 129"/>
            <p:cNvSpPr>
              <a:spLocks noChangeAspect="1" noChangeArrowheads="1"/>
            </p:cNvSpPr>
            <p:nvPr/>
          </p:nvSpPr>
          <p:spPr bwMode="auto">
            <a:xfrm>
              <a:off x="2168339" y="4785674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20513" name="Oval 130"/>
            <p:cNvSpPr>
              <a:spLocks noChangeAspect="1" noChangeArrowheads="1"/>
            </p:cNvSpPr>
            <p:nvPr/>
          </p:nvSpPr>
          <p:spPr bwMode="auto">
            <a:xfrm>
              <a:off x="2168339" y="3381897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</p:grpSp>
      <p:cxnSp>
        <p:nvCxnSpPr>
          <p:cNvPr id="20485" name="직선 연결선 12287"/>
          <p:cNvCxnSpPr>
            <a:cxnSpLocks noChangeShapeType="1"/>
          </p:cNvCxnSpPr>
          <p:nvPr/>
        </p:nvCxnSpPr>
        <p:spPr bwMode="auto">
          <a:xfrm>
            <a:off x="365125" y="3876675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6" name="직선 연결선 332"/>
          <p:cNvCxnSpPr>
            <a:cxnSpLocks noChangeShapeType="1"/>
          </p:cNvCxnSpPr>
          <p:nvPr/>
        </p:nvCxnSpPr>
        <p:spPr bwMode="auto">
          <a:xfrm>
            <a:off x="365125" y="3084513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7" name="직선 연결선 334"/>
          <p:cNvCxnSpPr>
            <a:cxnSpLocks noChangeShapeType="1"/>
          </p:cNvCxnSpPr>
          <p:nvPr/>
        </p:nvCxnSpPr>
        <p:spPr bwMode="auto">
          <a:xfrm>
            <a:off x="365125" y="2400300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88" name="Freeform 29"/>
          <p:cNvSpPr>
            <a:spLocks noEditPoints="1"/>
          </p:cNvSpPr>
          <p:nvPr/>
        </p:nvSpPr>
        <p:spPr bwMode="auto">
          <a:xfrm>
            <a:off x="3286125" y="2652713"/>
            <a:ext cx="844550" cy="268287"/>
          </a:xfrm>
          <a:custGeom>
            <a:avLst/>
            <a:gdLst>
              <a:gd name="T0" fmla="*/ 2147483646 w 265"/>
              <a:gd name="T1" fmla="*/ 2147483646 h 84"/>
              <a:gd name="T2" fmla="*/ 2147483646 w 265"/>
              <a:gd name="T3" fmla="*/ 2147483646 h 84"/>
              <a:gd name="T4" fmla="*/ 2147483646 w 265"/>
              <a:gd name="T5" fmla="*/ 2147483646 h 84"/>
              <a:gd name="T6" fmla="*/ 2147483646 w 265"/>
              <a:gd name="T7" fmla="*/ 2147483646 h 84"/>
              <a:gd name="T8" fmla="*/ 2147483646 w 265"/>
              <a:gd name="T9" fmla="*/ 2147483646 h 84"/>
              <a:gd name="T10" fmla="*/ 2147483646 w 265"/>
              <a:gd name="T11" fmla="*/ 2147483646 h 84"/>
              <a:gd name="T12" fmla="*/ 2147483646 w 265"/>
              <a:gd name="T13" fmla="*/ 0 h 84"/>
              <a:gd name="T14" fmla="*/ 2147483646 w 265"/>
              <a:gd name="T15" fmla="*/ 0 h 84"/>
              <a:gd name="T16" fmla="*/ 2147483646 w 265"/>
              <a:gd name="T17" fmla="*/ 2147483646 h 84"/>
              <a:gd name="T18" fmla="*/ 2147483646 w 265"/>
              <a:gd name="T19" fmla="*/ 2147483646 h 84"/>
              <a:gd name="T20" fmla="*/ 2147483646 w 265"/>
              <a:gd name="T21" fmla="*/ 2147483646 h 84"/>
              <a:gd name="T22" fmla="*/ 2147483646 w 265"/>
              <a:gd name="T23" fmla="*/ 2147483646 h 84"/>
              <a:gd name="T24" fmla="*/ 2147483646 w 265"/>
              <a:gd name="T25" fmla="*/ 2147483646 h 84"/>
              <a:gd name="T26" fmla="*/ 2147483646 w 265"/>
              <a:gd name="T27" fmla="*/ 2147483646 h 84"/>
              <a:gd name="T28" fmla="*/ 2147483646 w 265"/>
              <a:gd name="T29" fmla="*/ 2147483646 h 84"/>
              <a:gd name="T30" fmla="*/ 2147483646 w 265"/>
              <a:gd name="T31" fmla="*/ 2147483646 h 84"/>
              <a:gd name="T32" fmla="*/ 2147483646 w 265"/>
              <a:gd name="T33" fmla="*/ 2147483646 h 84"/>
              <a:gd name="T34" fmla="*/ 2147483646 w 265"/>
              <a:gd name="T35" fmla="*/ 2147483646 h 84"/>
              <a:gd name="T36" fmla="*/ 2147483646 w 265"/>
              <a:gd name="T37" fmla="*/ 2147483646 h 84"/>
              <a:gd name="T38" fmla="*/ 2147483646 w 265"/>
              <a:gd name="T39" fmla="*/ 2147483646 h 84"/>
              <a:gd name="T40" fmla="*/ 2147483646 w 265"/>
              <a:gd name="T41" fmla="*/ 2147483646 h 84"/>
              <a:gd name="T42" fmla="*/ 2147483646 w 265"/>
              <a:gd name="T43" fmla="*/ 2147483646 h 84"/>
              <a:gd name="T44" fmla="*/ 2147483646 w 265"/>
              <a:gd name="T45" fmla="*/ 2147483646 h 84"/>
              <a:gd name="T46" fmla="*/ 2147483646 w 265"/>
              <a:gd name="T47" fmla="*/ 2147483646 h 84"/>
              <a:gd name="T48" fmla="*/ 2147483646 w 265"/>
              <a:gd name="T49" fmla="*/ 2147483646 h 84"/>
              <a:gd name="T50" fmla="*/ 2147483646 w 265"/>
              <a:gd name="T51" fmla="*/ 2147483646 h 84"/>
              <a:gd name="T52" fmla="*/ 2147483646 w 265"/>
              <a:gd name="T53" fmla="*/ 2147483646 h 84"/>
              <a:gd name="T54" fmla="*/ 2147483646 w 265"/>
              <a:gd name="T55" fmla="*/ 2147483646 h 84"/>
              <a:gd name="T56" fmla="*/ 2147483646 w 265"/>
              <a:gd name="T57" fmla="*/ 2147483646 h 84"/>
              <a:gd name="T58" fmla="*/ 2147483646 w 265"/>
              <a:gd name="T59" fmla="*/ 2147483646 h 84"/>
              <a:gd name="T60" fmla="*/ 2147483646 w 265"/>
              <a:gd name="T61" fmla="*/ 2147483646 h 84"/>
              <a:gd name="T62" fmla="*/ 2147483646 w 265"/>
              <a:gd name="T63" fmla="*/ 2147483646 h 84"/>
              <a:gd name="T64" fmla="*/ 2147483646 w 265"/>
              <a:gd name="T65" fmla="*/ 2147483646 h 84"/>
              <a:gd name="T66" fmla="*/ 2147483646 w 265"/>
              <a:gd name="T67" fmla="*/ 2147483646 h 84"/>
              <a:gd name="T68" fmla="*/ 2147483646 w 265"/>
              <a:gd name="T69" fmla="*/ 2147483646 h 84"/>
              <a:gd name="T70" fmla="*/ 2147483646 w 265"/>
              <a:gd name="T71" fmla="*/ 2147483646 h 84"/>
              <a:gd name="T72" fmla="*/ 2147483646 w 265"/>
              <a:gd name="T73" fmla="*/ 2147483646 h 84"/>
              <a:gd name="T74" fmla="*/ 2147483646 w 265"/>
              <a:gd name="T75" fmla="*/ 2147483646 h 84"/>
              <a:gd name="T76" fmla="*/ 2147483646 w 265"/>
              <a:gd name="T77" fmla="*/ 2147483646 h 84"/>
              <a:gd name="T78" fmla="*/ 2147483646 w 265"/>
              <a:gd name="T79" fmla="*/ 2147483646 h 84"/>
              <a:gd name="T80" fmla="*/ 2147483646 w 265"/>
              <a:gd name="T81" fmla="*/ 2147483646 h 84"/>
              <a:gd name="T82" fmla="*/ 2147483646 w 265"/>
              <a:gd name="T83" fmla="*/ 2147483646 h 84"/>
              <a:gd name="T84" fmla="*/ 2147483646 w 265"/>
              <a:gd name="T85" fmla="*/ 2147483646 h 84"/>
              <a:gd name="T86" fmla="*/ 2147483646 w 265"/>
              <a:gd name="T87" fmla="*/ 2147483646 h 84"/>
              <a:gd name="T88" fmla="*/ 2147483646 w 265"/>
              <a:gd name="T89" fmla="*/ 2147483646 h 84"/>
              <a:gd name="T90" fmla="*/ 2147483646 w 265"/>
              <a:gd name="T91" fmla="*/ 2147483646 h 84"/>
              <a:gd name="T92" fmla="*/ 2147483646 w 265"/>
              <a:gd name="T93" fmla="*/ 2147483646 h 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65"/>
              <a:gd name="T142" fmla="*/ 0 h 84"/>
              <a:gd name="T143" fmla="*/ 265 w 265"/>
              <a:gd name="T144" fmla="*/ 84 h 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65" h="84">
                <a:moveTo>
                  <a:pt x="260" y="57"/>
                </a:moveTo>
                <a:cubicBezTo>
                  <a:pt x="258" y="57"/>
                  <a:pt x="258" y="57"/>
                  <a:pt x="258" y="57"/>
                </a:cubicBezTo>
                <a:cubicBezTo>
                  <a:pt x="258" y="57"/>
                  <a:pt x="258" y="51"/>
                  <a:pt x="258" y="42"/>
                </a:cubicBezTo>
                <a:cubicBezTo>
                  <a:pt x="258" y="32"/>
                  <a:pt x="246" y="29"/>
                  <a:pt x="246" y="29"/>
                </a:cubicBezTo>
                <a:cubicBezTo>
                  <a:pt x="186" y="20"/>
                  <a:pt x="186" y="20"/>
                  <a:pt x="186" y="20"/>
                </a:cubicBezTo>
                <a:cubicBezTo>
                  <a:pt x="186" y="20"/>
                  <a:pt x="162" y="9"/>
                  <a:pt x="156" y="5"/>
                </a:cubicBezTo>
                <a:cubicBezTo>
                  <a:pt x="151" y="1"/>
                  <a:pt x="143" y="0"/>
                  <a:pt x="143" y="0"/>
                </a:cubicBezTo>
                <a:cubicBezTo>
                  <a:pt x="143" y="0"/>
                  <a:pt x="120" y="0"/>
                  <a:pt x="96" y="0"/>
                </a:cubicBezTo>
                <a:cubicBezTo>
                  <a:pt x="73" y="0"/>
                  <a:pt x="47" y="12"/>
                  <a:pt x="37" y="17"/>
                </a:cubicBezTo>
                <a:cubicBezTo>
                  <a:pt x="27" y="22"/>
                  <a:pt x="17" y="23"/>
                  <a:pt x="8" y="23"/>
                </a:cubicBezTo>
                <a:cubicBezTo>
                  <a:pt x="0" y="23"/>
                  <a:pt x="8" y="43"/>
                  <a:pt x="8" y="43"/>
                </a:cubicBezTo>
                <a:cubicBezTo>
                  <a:pt x="8" y="43"/>
                  <a:pt x="8" y="43"/>
                  <a:pt x="8" y="58"/>
                </a:cubicBezTo>
                <a:cubicBezTo>
                  <a:pt x="8" y="74"/>
                  <a:pt x="26" y="72"/>
                  <a:pt x="26" y="72"/>
                </a:cubicBezTo>
                <a:cubicBezTo>
                  <a:pt x="38" y="72"/>
                  <a:pt x="38" y="72"/>
                  <a:pt x="38" y="72"/>
                </a:cubicBezTo>
                <a:cubicBezTo>
                  <a:pt x="37" y="70"/>
                  <a:pt x="37" y="68"/>
                  <a:pt x="37" y="65"/>
                </a:cubicBezTo>
                <a:cubicBezTo>
                  <a:pt x="37" y="52"/>
                  <a:pt x="48" y="42"/>
                  <a:pt x="61" y="42"/>
                </a:cubicBezTo>
                <a:cubicBezTo>
                  <a:pt x="74" y="42"/>
                  <a:pt x="85" y="52"/>
                  <a:pt x="85" y="65"/>
                </a:cubicBezTo>
                <a:cubicBezTo>
                  <a:pt x="85" y="68"/>
                  <a:pt x="84" y="70"/>
                  <a:pt x="84" y="72"/>
                </a:cubicBezTo>
                <a:cubicBezTo>
                  <a:pt x="193" y="72"/>
                  <a:pt x="193" y="72"/>
                  <a:pt x="193" y="72"/>
                </a:cubicBezTo>
                <a:cubicBezTo>
                  <a:pt x="192" y="70"/>
                  <a:pt x="192" y="68"/>
                  <a:pt x="192" y="65"/>
                </a:cubicBezTo>
                <a:cubicBezTo>
                  <a:pt x="192" y="52"/>
                  <a:pt x="203" y="42"/>
                  <a:pt x="216" y="42"/>
                </a:cubicBezTo>
                <a:cubicBezTo>
                  <a:pt x="229" y="42"/>
                  <a:pt x="240" y="52"/>
                  <a:pt x="240" y="65"/>
                </a:cubicBezTo>
                <a:cubicBezTo>
                  <a:pt x="240" y="68"/>
                  <a:pt x="239" y="70"/>
                  <a:pt x="239" y="72"/>
                </a:cubicBezTo>
                <a:cubicBezTo>
                  <a:pt x="265" y="71"/>
                  <a:pt x="260" y="57"/>
                  <a:pt x="260" y="57"/>
                </a:cubicBezTo>
                <a:close/>
                <a:moveTo>
                  <a:pt x="73" y="22"/>
                </a:moveTo>
                <a:cubicBezTo>
                  <a:pt x="73" y="22"/>
                  <a:pt x="59" y="24"/>
                  <a:pt x="69" y="17"/>
                </a:cubicBezTo>
                <a:cubicBezTo>
                  <a:pt x="77" y="12"/>
                  <a:pt x="85" y="3"/>
                  <a:pt x="99" y="3"/>
                </a:cubicBezTo>
                <a:cubicBezTo>
                  <a:pt x="113" y="3"/>
                  <a:pt x="113" y="3"/>
                  <a:pt x="113" y="3"/>
                </a:cubicBezTo>
                <a:cubicBezTo>
                  <a:pt x="116" y="22"/>
                  <a:pt x="116" y="22"/>
                  <a:pt x="116" y="22"/>
                </a:cubicBezTo>
                <a:lnTo>
                  <a:pt x="73" y="22"/>
                </a:lnTo>
                <a:close/>
                <a:moveTo>
                  <a:pt x="167" y="22"/>
                </a:moveTo>
                <a:cubicBezTo>
                  <a:pt x="122" y="22"/>
                  <a:pt x="122" y="22"/>
                  <a:pt x="122" y="22"/>
                </a:cubicBezTo>
                <a:cubicBezTo>
                  <a:pt x="117" y="3"/>
                  <a:pt x="117" y="3"/>
                  <a:pt x="117" y="3"/>
                </a:cubicBezTo>
                <a:cubicBezTo>
                  <a:pt x="117" y="3"/>
                  <a:pt x="134" y="3"/>
                  <a:pt x="140" y="3"/>
                </a:cubicBezTo>
                <a:cubicBezTo>
                  <a:pt x="145" y="3"/>
                  <a:pt x="150" y="6"/>
                  <a:pt x="150" y="6"/>
                </a:cubicBezTo>
                <a:cubicBezTo>
                  <a:pt x="150" y="6"/>
                  <a:pt x="161" y="14"/>
                  <a:pt x="167" y="18"/>
                </a:cubicBezTo>
                <a:cubicBezTo>
                  <a:pt x="173" y="22"/>
                  <a:pt x="167" y="22"/>
                  <a:pt x="167" y="22"/>
                </a:cubicBezTo>
                <a:close/>
                <a:moveTo>
                  <a:pt x="61" y="47"/>
                </a:moveTo>
                <a:cubicBezTo>
                  <a:pt x="51" y="47"/>
                  <a:pt x="43" y="55"/>
                  <a:pt x="43" y="65"/>
                </a:cubicBezTo>
                <a:cubicBezTo>
                  <a:pt x="43" y="76"/>
                  <a:pt x="51" y="84"/>
                  <a:pt x="61" y="84"/>
                </a:cubicBezTo>
                <a:cubicBezTo>
                  <a:pt x="71" y="84"/>
                  <a:pt x="79" y="76"/>
                  <a:pt x="79" y="65"/>
                </a:cubicBezTo>
                <a:cubicBezTo>
                  <a:pt x="79" y="55"/>
                  <a:pt x="71" y="47"/>
                  <a:pt x="61" y="47"/>
                </a:cubicBezTo>
                <a:close/>
                <a:moveTo>
                  <a:pt x="216" y="47"/>
                </a:moveTo>
                <a:cubicBezTo>
                  <a:pt x="206" y="47"/>
                  <a:pt x="197" y="55"/>
                  <a:pt x="197" y="65"/>
                </a:cubicBezTo>
                <a:cubicBezTo>
                  <a:pt x="197" y="76"/>
                  <a:pt x="206" y="84"/>
                  <a:pt x="216" y="84"/>
                </a:cubicBezTo>
                <a:cubicBezTo>
                  <a:pt x="226" y="84"/>
                  <a:pt x="234" y="76"/>
                  <a:pt x="234" y="65"/>
                </a:cubicBezTo>
                <a:cubicBezTo>
                  <a:pt x="234" y="55"/>
                  <a:pt x="226" y="47"/>
                  <a:pt x="216" y="4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20489" name="Picture 100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2288" y="4224338"/>
            <a:ext cx="1147762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490" name="그룹 133"/>
          <p:cNvGrpSpPr>
            <a:grpSpLocks/>
          </p:cNvGrpSpPr>
          <p:nvPr/>
        </p:nvGrpSpPr>
        <p:grpSpPr bwMode="auto">
          <a:xfrm>
            <a:off x="1463675" y="3659188"/>
            <a:ext cx="449263" cy="398462"/>
            <a:chOff x="3295650" y="4503738"/>
            <a:chExt cx="449263" cy="398462"/>
          </a:xfrm>
        </p:grpSpPr>
        <p:sp>
          <p:nvSpPr>
            <p:cNvPr id="575" name="원호 574"/>
            <p:cNvSpPr/>
            <p:nvPr/>
          </p:nvSpPr>
          <p:spPr bwMode="auto">
            <a:xfrm rot="866400">
              <a:off x="3295650" y="4503738"/>
              <a:ext cx="449263" cy="398462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576" name="원호 575"/>
            <p:cNvSpPr/>
            <p:nvPr/>
          </p:nvSpPr>
          <p:spPr bwMode="auto">
            <a:xfrm rot="866400">
              <a:off x="3346450" y="4533900"/>
              <a:ext cx="350838" cy="338138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577" name="원호 576"/>
            <p:cNvSpPr/>
            <p:nvPr/>
          </p:nvSpPr>
          <p:spPr bwMode="auto">
            <a:xfrm rot="866400">
              <a:off x="3395663" y="4573588"/>
              <a:ext cx="249237" cy="258762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578" name="원호 577"/>
            <p:cNvSpPr/>
            <p:nvPr/>
          </p:nvSpPr>
          <p:spPr bwMode="auto">
            <a:xfrm rot="866400">
              <a:off x="3444875" y="4625975"/>
              <a:ext cx="150813" cy="153988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pic>
        <p:nvPicPr>
          <p:cNvPr id="20491" name="Picture 136" descr="Weather%20cloud"/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165"/>
          <a:stretch>
            <a:fillRect/>
          </a:stretch>
        </p:blipFill>
        <p:spPr bwMode="auto">
          <a:xfrm>
            <a:off x="6269038" y="3879850"/>
            <a:ext cx="3578225" cy="196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그림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975" y="3441700"/>
            <a:ext cx="752475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493" name="구부러진 연결선 4"/>
          <p:cNvCxnSpPr>
            <a:cxnSpLocks noChangeShapeType="1"/>
          </p:cNvCxnSpPr>
          <p:nvPr/>
        </p:nvCxnSpPr>
        <p:spPr bwMode="auto">
          <a:xfrm>
            <a:off x="1720850" y="3668713"/>
            <a:ext cx="2974975" cy="119221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4" name="Oval 20"/>
          <p:cNvSpPr>
            <a:spLocks noChangeAspect="1" noChangeArrowheads="1"/>
          </p:cNvSpPr>
          <p:nvPr/>
        </p:nvSpPr>
        <p:spPr bwMode="auto">
          <a:xfrm rot="5400000">
            <a:off x="1987550" y="2733676"/>
            <a:ext cx="750887" cy="1452562"/>
          </a:xfrm>
          <a:prstGeom prst="ellipse">
            <a:avLst/>
          </a:prstGeom>
          <a:solidFill>
            <a:schemeClr val="folHlink">
              <a:alpha val="30196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kumimoji="1" lang="ko-KR" altLang="en-US" sz="1400">
              <a:solidFill>
                <a:schemeClr val="tx1"/>
              </a:solidFill>
              <a:latin typeface="맑은 고딕" charset="-127"/>
              <a:ea typeface="맑은 고딕" charset="-127"/>
              <a:cs typeface="가는둥근제목체" charset="0"/>
            </a:endParaRPr>
          </a:p>
        </p:txBody>
      </p:sp>
      <p:cxnSp>
        <p:nvCxnSpPr>
          <p:cNvPr id="20495" name="구부러진 연결선 580"/>
          <p:cNvCxnSpPr>
            <a:cxnSpLocks noChangeShapeType="1"/>
          </p:cNvCxnSpPr>
          <p:nvPr/>
        </p:nvCxnSpPr>
        <p:spPr bwMode="auto">
          <a:xfrm flipV="1">
            <a:off x="5083175" y="3987800"/>
            <a:ext cx="3098800" cy="9398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6" name="구부러진 연결선 581"/>
          <p:cNvCxnSpPr>
            <a:cxnSpLocks noChangeShapeType="1"/>
          </p:cNvCxnSpPr>
          <p:nvPr/>
        </p:nvCxnSpPr>
        <p:spPr bwMode="auto">
          <a:xfrm rot="16200000" flipH="1">
            <a:off x="3425825" y="3138488"/>
            <a:ext cx="1754188" cy="126206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0497" name="그림 58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8188" y="2447925"/>
            <a:ext cx="4889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498" name="구부러진 연결선 584"/>
          <p:cNvCxnSpPr>
            <a:cxnSpLocks noChangeShapeType="1"/>
          </p:cNvCxnSpPr>
          <p:nvPr/>
        </p:nvCxnSpPr>
        <p:spPr bwMode="auto">
          <a:xfrm rot="5400000">
            <a:off x="4523581" y="3405982"/>
            <a:ext cx="1971675" cy="93821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9" name="Content Placeholder 1"/>
          <p:cNvSpPr>
            <a:spLocks noGrp="1"/>
          </p:cNvSpPr>
          <p:nvPr>
            <p:ph idx="4294967295"/>
          </p:nvPr>
        </p:nvSpPr>
        <p:spPr>
          <a:xfrm>
            <a:off x="7753350" y="2114550"/>
            <a:ext cx="3943350" cy="1533525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Image processing to calculate position, to identify object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Coordination of future trajectories of vehicle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Planning of future route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Remote driving control of vehicle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</p:txBody>
      </p:sp>
      <p:sp>
        <p:nvSpPr>
          <p:cNvPr id="20500" name="Content Placeholder 1"/>
          <p:cNvSpPr>
            <a:spLocks noGrp="1"/>
          </p:cNvSpPr>
          <p:nvPr>
            <p:ph idx="4294967295"/>
          </p:nvPr>
        </p:nvSpPr>
        <p:spPr>
          <a:xfrm>
            <a:off x="623888" y="1320800"/>
            <a:ext cx="9718675" cy="20701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500"/>
              <a:t> While hardware installed in a vehicle may not </a:t>
            </a:r>
            <a:r>
              <a:rPr lang="en-US" altLang="ko-KR" sz="1500">
                <a:ea typeface="굴림" charset="-127"/>
              </a:rPr>
              <a:t>be </a:t>
            </a:r>
            <a:r>
              <a:rPr lang="en-US" altLang="en-US" sz="1500"/>
              <a:t>upgraded, artificial intelligence in the cloud will continuously evolve. As long as communication path is available between vehicle and A.I. in the cloud, new and advanced service can be provided to a old vehicle. </a:t>
            </a:r>
          </a:p>
        </p:txBody>
      </p:sp>
      <p:sp>
        <p:nvSpPr>
          <p:cNvPr id="20501" name="직사각형 36"/>
          <p:cNvSpPr>
            <a:spLocks noChangeArrowheads="1"/>
          </p:cNvSpPr>
          <p:nvPr/>
        </p:nvSpPr>
        <p:spPr bwMode="auto">
          <a:xfrm>
            <a:off x="7424738" y="4338638"/>
            <a:ext cx="2324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A.I. in the cloud</a:t>
            </a:r>
            <a:endParaRPr lang="ko-KR" altLang="en-US" b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Content Placeholder 1"/>
          <p:cNvSpPr>
            <a:spLocks noGrp="1"/>
          </p:cNvSpPr>
          <p:nvPr>
            <p:ph idx="1"/>
          </p:nvPr>
        </p:nvSpPr>
        <p:spPr>
          <a:xfrm>
            <a:off x="549275" y="1417638"/>
            <a:ext cx="11026775" cy="4522787"/>
          </a:xfrm>
        </p:spPr>
        <p:txBody>
          <a:bodyPr/>
          <a:lstStyle/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3GPP finished the first phase of C-V2X and has moved into next phases</a:t>
            </a:r>
          </a:p>
        </p:txBody>
      </p:sp>
      <p:sp>
        <p:nvSpPr>
          <p:cNvPr id="10243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1476029B-0E77-DD44-A2E1-7D9FB197E690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8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2532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Roadmap of Cellular V2X</a:t>
            </a:r>
          </a:p>
        </p:txBody>
      </p:sp>
      <p:sp>
        <p:nvSpPr>
          <p:cNvPr id="6" name="아래쪽 화살표 5"/>
          <p:cNvSpPr/>
          <p:nvPr/>
        </p:nvSpPr>
        <p:spPr bwMode="auto">
          <a:xfrm>
            <a:off x="975917" y="1964136"/>
            <a:ext cx="1032265" cy="698400"/>
          </a:xfrm>
          <a:prstGeom prst="downArrow">
            <a:avLst>
              <a:gd name="adj1" fmla="val 100000"/>
              <a:gd name="adj2" fmla="val 18720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36000" rIns="36000" anchor="ctr"/>
          <a:lstStyle/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ge-1</a:t>
            </a:r>
          </a:p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se case,</a:t>
            </a:r>
            <a:b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quirements</a:t>
            </a:r>
            <a:endParaRPr kumimoji="1" lang="ko-KR" altLang="en-US" sz="13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아래쪽 화살표 6"/>
          <p:cNvSpPr/>
          <p:nvPr/>
        </p:nvSpPr>
        <p:spPr bwMode="auto">
          <a:xfrm>
            <a:off x="975917" y="2586584"/>
            <a:ext cx="1032265" cy="698400"/>
          </a:xfrm>
          <a:prstGeom prst="downArrow">
            <a:avLst>
              <a:gd name="adj1" fmla="val 100000"/>
              <a:gd name="adj2" fmla="val 20294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36000" rIns="36000" anchor="ctr"/>
          <a:lstStyle/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ge-2</a:t>
            </a:r>
          </a:p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rchitecture</a:t>
            </a:r>
            <a:endParaRPr kumimoji="1" lang="ko-KR" altLang="en-US" sz="13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2539" name="직선 연결선 5"/>
          <p:cNvCxnSpPr>
            <a:cxnSpLocks noChangeShapeType="1"/>
          </p:cNvCxnSpPr>
          <p:nvPr/>
        </p:nvCxnSpPr>
        <p:spPr bwMode="auto">
          <a:xfrm>
            <a:off x="1936750" y="2573338"/>
            <a:ext cx="52165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540" name="직사각형 63"/>
          <p:cNvSpPr>
            <a:spLocks noChangeArrowheads="1"/>
          </p:cNvSpPr>
          <p:nvPr/>
        </p:nvSpPr>
        <p:spPr bwMode="auto">
          <a:xfrm>
            <a:off x="2427288" y="1898650"/>
            <a:ext cx="1074737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1) LTE 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5.02~ `16.03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41" name="직사각형 63"/>
          <p:cNvSpPr>
            <a:spLocks noChangeArrowheads="1"/>
          </p:cNvSpPr>
          <p:nvPr/>
        </p:nvSpPr>
        <p:spPr bwMode="auto">
          <a:xfrm>
            <a:off x="3556000" y="3230563"/>
            <a:ext cx="890588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RAN) LTE 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5.06~ `17.03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42" name="Line 21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892425" y="3417888"/>
            <a:ext cx="22066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43" name="직사각형 63"/>
          <p:cNvSpPr>
            <a:spLocks noChangeArrowheads="1"/>
          </p:cNvSpPr>
          <p:nvPr/>
        </p:nvSpPr>
        <p:spPr bwMode="auto">
          <a:xfrm>
            <a:off x="4149725" y="2166938"/>
            <a:ext cx="984250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1) eV2X 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6.05~ `17.03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44" name="Line 21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340100" y="2751138"/>
            <a:ext cx="11144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45" name="직사각형 63"/>
          <p:cNvSpPr>
            <a:spLocks noChangeArrowheads="1"/>
          </p:cNvSpPr>
          <p:nvPr/>
        </p:nvSpPr>
        <p:spPr bwMode="auto">
          <a:xfrm>
            <a:off x="3411538" y="2565400"/>
            <a:ext cx="954087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2) LTE 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5.10~ `16.09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42" name="아래쪽 화살표 41"/>
          <p:cNvSpPr/>
          <p:nvPr/>
        </p:nvSpPr>
        <p:spPr bwMode="auto">
          <a:xfrm>
            <a:off x="975917" y="3212976"/>
            <a:ext cx="1032265" cy="698400"/>
          </a:xfrm>
          <a:prstGeom prst="downArrow">
            <a:avLst>
              <a:gd name="adj1" fmla="val 100000"/>
              <a:gd name="adj2" fmla="val 20294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36000" rIns="36000" anchor="ctr"/>
          <a:lstStyle/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ge-3</a:t>
            </a:r>
          </a:p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tocols</a:t>
            </a:r>
          </a:p>
        </p:txBody>
      </p:sp>
      <p:cxnSp>
        <p:nvCxnSpPr>
          <p:cNvPr id="22549" name="직선 연결선 5"/>
          <p:cNvCxnSpPr>
            <a:cxnSpLocks noChangeShapeType="1"/>
          </p:cNvCxnSpPr>
          <p:nvPr/>
        </p:nvCxnSpPr>
        <p:spPr bwMode="auto">
          <a:xfrm>
            <a:off x="1958975" y="3213100"/>
            <a:ext cx="5214938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550" name="직사각형 63"/>
          <p:cNvSpPr>
            <a:spLocks noChangeArrowheads="1"/>
          </p:cNvSpPr>
          <p:nvPr/>
        </p:nvSpPr>
        <p:spPr bwMode="auto">
          <a:xfrm>
            <a:off x="5419725" y="2860675"/>
            <a:ext cx="984250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2) e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7.04~ `18.09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51" name="Line 21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971925" y="2352675"/>
            <a:ext cx="1162050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2" name="Line 21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216525" y="3036888"/>
            <a:ext cx="1670050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3" name="Line 21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2314575" y="2085975"/>
            <a:ext cx="1500188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4" name="직사각형 63"/>
          <p:cNvSpPr>
            <a:spLocks noChangeArrowheads="1"/>
          </p:cNvSpPr>
          <p:nvPr/>
        </p:nvSpPr>
        <p:spPr bwMode="auto">
          <a:xfrm>
            <a:off x="5216525" y="3343275"/>
            <a:ext cx="1273175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RAN) LTE e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7.04~ `18.06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55" name="Line 21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5216525" y="3530600"/>
            <a:ext cx="1273175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6" name="직사각형 63"/>
          <p:cNvSpPr>
            <a:spLocks noChangeArrowheads="1"/>
          </p:cNvSpPr>
          <p:nvPr/>
        </p:nvSpPr>
        <p:spPr bwMode="auto">
          <a:xfrm>
            <a:off x="6454775" y="3540125"/>
            <a:ext cx="127317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RAN) NR e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7.3Q~ `19.4Q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54" name="Line 21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022975" y="3727450"/>
            <a:ext cx="1655763" cy="0"/>
          </a:xfrm>
          <a:prstGeom prst="line">
            <a:avLst/>
          </a:prstGeom>
          <a:noFill/>
          <a:ln w="19050">
            <a:solidFill>
              <a:schemeClr val="accent3">
                <a:lumMod val="65000"/>
              </a:schemeClr>
            </a:solidFill>
            <a:prstDash val="dash"/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ko-KR" altLang="en-US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558" name="오각형 54"/>
          <p:cNvSpPr>
            <a:spLocks noChangeArrowheads="1"/>
          </p:cNvSpPr>
          <p:nvPr/>
        </p:nvSpPr>
        <p:spPr bwMode="auto">
          <a:xfrm>
            <a:off x="2422525" y="4191000"/>
            <a:ext cx="3517900" cy="242888"/>
          </a:xfrm>
          <a:prstGeom prst="homePlate">
            <a:avLst>
              <a:gd name="adj" fmla="val 21524"/>
            </a:avLst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r>
              <a:rPr lang="en-US" altLang="ko-KR" sz="1400" b="1">
                <a:solidFill>
                  <a:schemeClr val="tx1"/>
                </a:solidFill>
                <a:latin typeface="Arial Narrow" charset="0"/>
                <a:ea typeface="LG스마트체 Regular" charset="0"/>
              </a:rPr>
              <a:t>Basic V2X services</a:t>
            </a:r>
            <a:endParaRPr lang="ko-KR" altLang="en-US" sz="1400" b="1">
              <a:solidFill>
                <a:schemeClr val="tx1"/>
              </a:solidFill>
              <a:latin typeface="Arial Narrow" charset="0"/>
              <a:ea typeface="LG스마트체 Regular" charset="0"/>
            </a:endParaRPr>
          </a:p>
        </p:txBody>
      </p:sp>
      <p:sp>
        <p:nvSpPr>
          <p:cNvPr id="22559" name="오각형 55"/>
          <p:cNvSpPr>
            <a:spLocks noChangeArrowheads="1"/>
          </p:cNvSpPr>
          <p:nvPr/>
        </p:nvSpPr>
        <p:spPr bwMode="auto">
          <a:xfrm>
            <a:off x="5949950" y="4191000"/>
            <a:ext cx="4752975" cy="242888"/>
          </a:xfrm>
          <a:prstGeom prst="homePlate">
            <a:avLst>
              <a:gd name="adj" fmla="val 21562"/>
            </a:avLst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r>
              <a:rPr lang="en-US" altLang="ko-KR" sz="1400" b="1">
                <a:solidFill>
                  <a:schemeClr val="tx1"/>
                </a:solidFill>
                <a:latin typeface="Arial Narrow" charset="0"/>
                <a:ea typeface="LG스마트체 Regular" charset="0"/>
              </a:rPr>
              <a:t>Advanced V2X services</a:t>
            </a:r>
            <a:endParaRPr lang="ko-KR" altLang="en-US" sz="1400" b="1">
              <a:solidFill>
                <a:schemeClr val="tx1"/>
              </a:solidFill>
              <a:latin typeface="Arial Narrow" charset="0"/>
              <a:ea typeface="LG스마트체 Regular" charset="0"/>
            </a:endParaRPr>
          </a:p>
        </p:txBody>
      </p:sp>
      <p:sp>
        <p:nvSpPr>
          <p:cNvPr id="22560" name="Content Placeholder 1"/>
          <p:cNvSpPr txBox="1">
            <a:spLocks/>
          </p:cNvSpPr>
          <p:nvPr/>
        </p:nvSpPr>
        <p:spPr bwMode="auto">
          <a:xfrm>
            <a:off x="2422525" y="4567238"/>
            <a:ext cx="3452813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21240" rIns="0" bIns="0"/>
          <a:lstStyle>
            <a:lvl1pPr marL="92075" indent="-92075"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Road hazard warn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Intersection movement assistance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Forward collision warn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200"/>
          </a:p>
        </p:txBody>
      </p:sp>
      <p:sp>
        <p:nvSpPr>
          <p:cNvPr id="22561" name="Content Placeholder 1"/>
          <p:cNvSpPr txBox="1">
            <a:spLocks/>
          </p:cNvSpPr>
          <p:nvPr/>
        </p:nvSpPr>
        <p:spPr bwMode="auto">
          <a:xfrm>
            <a:off x="5949950" y="4567238"/>
            <a:ext cx="4968875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21240" rIns="0" bIns="0"/>
          <a:lstStyle>
            <a:lvl1pPr marL="92075" indent="-92075"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Autonomous driv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CACC, Platoon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Tele-operated driv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Sensor data shar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200"/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</a:pPr>
            <a:r>
              <a:rPr lang="en-US" altLang="en-US" sz="1200" b="1"/>
              <a:t>-&gt; Higher reliability, Higher throughput, Lower latency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6194C41C-3BF6-7641-A6B9-FC688D715026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9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4579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Topics for discussion</a:t>
            </a:r>
          </a:p>
        </p:txBody>
      </p:sp>
      <p:sp>
        <p:nvSpPr>
          <p:cNvPr id="24580" name="Content Placeholder 1"/>
          <p:cNvSpPr>
            <a:spLocks noGrp="1"/>
          </p:cNvSpPr>
          <p:nvPr>
            <p:ph idx="1"/>
          </p:nvPr>
        </p:nvSpPr>
        <p:spPr>
          <a:xfrm>
            <a:off x="549275" y="1417638"/>
            <a:ext cx="11026775" cy="4522787"/>
          </a:xfrm>
        </p:spPr>
        <p:txBody>
          <a:bodyPr/>
          <a:lstStyle/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Standardization of V2X Applications for beyond Day 2: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For some advanced V2X applications, progress of standardization is slow. For other advanced V2X applications, there is no plan at all. (e.g. video sharing, remote driving, etc.)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Cloud-to-cloud connectivity between stake-holders also needs to be considered. (e.g. how one OEM cloud connects to other OEMs cloud? how operators’ cloud connects to other OEMs’ cloud or operators’ cloud?) </a:t>
            </a:r>
          </a:p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Coexistence and evolution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ITS band (e.g. 5.9 Ghz) is technology neutral, allowing access of both C-V2X and DSRC/ITS-G5. 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How to ensure coexistence of both technologies within same band?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How to ensure the evolution of access technologies?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What and to which extent interoperability should be supported?</a:t>
            </a:r>
          </a:p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Competition and collaboration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Which part of V2X service is up for competition/implementation and which part of V2X service is up for collaboration/standardization?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Which part of V2X specification is up for competition or collaboration among SDOs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2B5DCE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1424E53CC42143AB311C22B71889D1" ma:contentTypeVersion="1" ma:contentTypeDescription="Create a new document." ma:contentTypeScope="" ma:versionID="dfeef911b38cc02ce51002c4fdc0bda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11556d0edaacd44299612f6ec025f07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4CE5D0-A739-4209-A5FE-600914935C60}"/>
</file>

<file path=customXml/itemProps2.xml><?xml version="1.0" encoding="utf-8"?>
<ds:datastoreItem xmlns:ds="http://schemas.openxmlformats.org/officeDocument/2006/customXml" ds:itemID="{EA31F46B-2153-4A53-988C-D39EC1F2F9CC}"/>
</file>

<file path=customXml/itemProps3.xml><?xml version="1.0" encoding="utf-8"?>
<ds:datastoreItem xmlns:ds="http://schemas.openxmlformats.org/officeDocument/2006/customXml" ds:itemID="{49A90853-F2EE-4B3E-BABF-8259D41C113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234</TotalTime>
  <Words>1047</Words>
  <Application>Microsoft Macintosh PowerPoint</Application>
  <PresentationFormat>Custom</PresentationFormat>
  <Paragraphs>218</Paragraphs>
  <Slides>13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31" baseType="lpstr">
      <vt:lpstr>Arial Narrow</vt:lpstr>
      <vt:lpstr>Calibri</vt:lpstr>
      <vt:lpstr>Consolas</vt:lpstr>
      <vt:lpstr>LG스마트체 Regular</vt:lpstr>
      <vt:lpstr>Lucida Sans Unicode</vt:lpstr>
      <vt:lpstr>Microsoft YaHei</vt:lpstr>
      <vt:lpstr>MS PGothic</vt:lpstr>
      <vt:lpstr>Times New Roman</vt:lpstr>
      <vt:lpstr>Trebuchet MS</vt:lpstr>
      <vt:lpstr>Verdana</vt:lpstr>
      <vt:lpstr>Wingdings</vt:lpstr>
      <vt:lpstr>가는둥근제목체</vt:lpstr>
      <vt:lpstr>굴림</vt:lpstr>
      <vt:lpstr>돋움</vt:lpstr>
      <vt:lpstr>맑은 고딕</vt:lpstr>
      <vt:lpstr>Arial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3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.sriv</dc:creator>
  <cp:lastModifiedBy>Microsoft Office User</cp:lastModifiedBy>
  <cp:revision>251</cp:revision>
  <cp:lastPrinted>1601-01-01T00:00:00Z</cp:lastPrinted>
  <dcterms:created xsi:type="dcterms:W3CDTF">2016-04-13T17:12:01Z</dcterms:created>
  <dcterms:modified xsi:type="dcterms:W3CDTF">2017-09-21T18:1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ublishingExpirationDate">
    <vt:lpwstr/>
  </property>
  <property fmtid="{D5CDD505-2E9C-101B-9397-08002B2CF9AE}" pid="3" name="PublishingStartDate">
    <vt:lpwstr/>
  </property>
  <property fmtid="{D5CDD505-2E9C-101B-9397-08002B2CF9AE}" pid="4" name="ContentTypeId">
    <vt:lpwstr>0x0101009D1424E53CC42143AB311C22B71889D1</vt:lpwstr>
  </property>
</Properties>
</file>